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56" r:id="rId5"/>
    <p:sldId id="257" r:id="rId6"/>
    <p:sldId id="268" r:id="rId7"/>
    <p:sldId id="276" r:id="rId8"/>
    <p:sldId id="273" r:id="rId9"/>
    <p:sldId id="267" r:id="rId10"/>
    <p:sldId id="275" r:id="rId11"/>
  </p:sldIdLst>
  <p:sldSz cx="12192000" cy="6858000"/>
  <p:notesSz cx="6858000" cy="914400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A6A34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05" autoAdjust="0"/>
    <p:restoredTop sz="94660"/>
  </p:normalViewPr>
  <p:slideViewPr>
    <p:cSldViewPr snapToGrid="0">
      <p:cViewPr varScale="1">
        <p:scale>
          <a:sx n="79" d="100"/>
          <a:sy n="79" d="100"/>
        </p:scale>
        <p:origin x="96" y="8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C309AC5E-331E-47C5-B74D-DBE8E9CD79C0}"/>
              </a:ext>
            </a:extLst>
          </p:cNvPr>
          <p:cNvSpPr>
            <a:spLocks/>
          </p:cNvSpPr>
          <p:nvPr/>
        </p:nvSpPr>
        <p:spPr bwMode="gray">
          <a:xfrm>
            <a:off x="0" y="0"/>
            <a:ext cx="6618313" cy="6858000"/>
          </a:xfrm>
          <a:custGeom>
            <a:avLst/>
            <a:gdLst>
              <a:gd name="connsiteX0" fmla="*/ 4780205 w 6618313"/>
              <a:gd name="connsiteY0" fmla="*/ 0 h 6858000"/>
              <a:gd name="connsiteX1" fmla="*/ 6618313 w 6618313"/>
              <a:gd name="connsiteY1" fmla="*/ 0 h 6858000"/>
              <a:gd name="connsiteX2" fmla="*/ 4229619 w 6618313"/>
              <a:gd name="connsiteY2" fmla="*/ 6509169 h 6858000"/>
              <a:gd name="connsiteX3" fmla="*/ 4066561 w 6618313"/>
              <a:gd name="connsiteY3" fmla="*/ 6858000 h 6858000"/>
              <a:gd name="connsiteX4" fmla="*/ 308462 w 6618313"/>
              <a:gd name="connsiteY4" fmla="*/ 6858000 h 6858000"/>
              <a:gd name="connsiteX5" fmla="*/ 143992 w 6618313"/>
              <a:gd name="connsiteY5" fmla="*/ 6504932 h 6858000"/>
              <a:gd name="connsiteX6" fmla="*/ 32492 w 6618313"/>
              <a:gd name="connsiteY6" fmla="*/ 6199617 h 6858000"/>
              <a:gd name="connsiteX7" fmla="*/ 0 w 6618313"/>
              <a:gd name="connsiteY7" fmla="*/ 6110647 h 6858000"/>
              <a:gd name="connsiteX8" fmla="*/ 0 w 6618313"/>
              <a:gd name="connsiteY8" fmla="*/ 1076066 h 6858000"/>
              <a:gd name="connsiteX9" fmla="*/ 57021 w 6618313"/>
              <a:gd name="connsiteY9" fmla="*/ 1232363 h 6858000"/>
              <a:gd name="connsiteX10" fmla="*/ 1764690 w 6618313"/>
              <a:gd name="connsiteY10" fmla="*/ 5913189 h 6858000"/>
              <a:gd name="connsiteX11" fmla="*/ 2186806 w 6618313"/>
              <a:gd name="connsiteY11" fmla="*/ 6209061 h 6858000"/>
              <a:gd name="connsiteX12" fmla="*/ 2187511 w 6618313"/>
              <a:gd name="connsiteY12" fmla="*/ 6209061 h 6858000"/>
              <a:gd name="connsiteX13" fmla="*/ 2609627 w 6618313"/>
              <a:gd name="connsiteY13" fmla="*/ 5913895 h 6858000"/>
              <a:gd name="connsiteX14" fmla="*/ 4780205 w 6618313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618313" h="6858000">
                <a:moveTo>
                  <a:pt x="4780205" y="0"/>
                </a:moveTo>
                <a:lnTo>
                  <a:pt x="6618313" y="0"/>
                </a:lnTo>
                <a:cubicBezTo>
                  <a:pt x="6618313" y="0"/>
                  <a:pt x="6618313" y="0"/>
                  <a:pt x="4229619" y="6509169"/>
                </a:cubicBezTo>
                <a:cubicBezTo>
                  <a:pt x="4184443" y="6632036"/>
                  <a:pt x="4129384" y="6748549"/>
                  <a:pt x="4066561" y="6858000"/>
                </a:cubicBezTo>
                <a:cubicBezTo>
                  <a:pt x="4066561" y="6858000"/>
                  <a:pt x="4066561" y="6858000"/>
                  <a:pt x="308462" y="6858000"/>
                </a:cubicBezTo>
                <a:cubicBezTo>
                  <a:pt x="244227" y="6747137"/>
                  <a:pt x="189168" y="6629212"/>
                  <a:pt x="143992" y="6504932"/>
                </a:cubicBezTo>
                <a:cubicBezTo>
                  <a:pt x="143992" y="6504932"/>
                  <a:pt x="143992" y="6504932"/>
                  <a:pt x="32492" y="6199617"/>
                </a:cubicBezTo>
                <a:lnTo>
                  <a:pt x="0" y="6110647"/>
                </a:lnTo>
                <a:lnTo>
                  <a:pt x="0" y="1076066"/>
                </a:lnTo>
                <a:lnTo>
                  <a:pt x="57021" y="1232363"/>
                </a:lnTo>
                <a:cubicBezTo>
                  <a:pt x="344591" y="2020610"/>
                  <a:pt x="855827" y="3421939"/>
                  <a:pt x="1764690" y="5913189"/>
                </a:cubicBezTo>
                <a:cubicBezTo>
                  <a:pt x="1862101" y="6180109"/>
                  <a:pt x="2092218" y="6209061"/>
                  <a:pt x="2186806" y="6209061"/>
                </a:cubicBezTo>
                <a:cubicBezTo>
                  <a:pt x="2186806" y="6209061"/>
                  <a:pt x="2186806" y="6209061"/>
                  <a:pt x="2187511" y="6209061"/>
                </a:cubicBezTo>
                <a:cubicBezTo>
                  <a:pt x="2282099" y="6209061"/>
                  <a:pt x="2512216" y="6180109"/>
                  <a:pt x="2609627" y="5913895"/>
                </a:cubicBezTo>
                <a:cubicBezTo>
                  <a:pt x="2609627" y="5913895"/>
                  <a:pt x="2609627" y="5913895"/>
                  <a:pt x="478020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F10EEC-7180-40B0-99AD-49EBF1D7025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1847850" y="1600200"/>
            <a:ext cx="9972676" cy="1756792"/>
          </a:xfrm>
        </p:spPr>
        <p:txBody>
          <a:bodyPr anchor="b"/>
          <a:lstStyle>
            <a:lvl1pPr algn="l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defRPr sz="5000"/>
            </a:lvl1pPr>
          </a:lstStyle>
          <a:p>
            <a:r>
              <a:rPr lang="fr-FR"/>
              <a:t>Modifiez le style du titre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A366ED8-AB52-4EC1-B9BB-6625AECB295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847849" y="3465004"/>
            <a:ext cx="9972675" cy="792088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60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AB05EF9-52FC-4156-ACA1-536839172E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1847849" y="4330339"/>
            <a:ext cx="9972675" cy="17989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81953F5-23B4-442B-BCAB-3CFACF9EB4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12835" y="341919"/>
            <a:ext cx="2107801" cy="743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0907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027BD71-4399-4B10-B541-DEE01F2E59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071F8E7-6C99-42F7-A33B-A1164F4652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892016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9BA8FB27-B372-40DA-B6AA-742C42B42170}"/>
              </a:ext>
            </a:extLst>
          </p:cNvPr>
          <p:cNvSpPr>
            <a:spLocks/>
          </p:cNvSpPr>
          <p:nvPr/>
        </p:nvSpPr>
        <p:spPr bwMode="gray">
          <a:xfrm>
            <a:off x="0" y="0"/>
            <a:ext cx="6618313" cy="6858000"/>
          </a:xfrm>
          <a:custGeom>
            <a:avLst/>
            <a:gdLst>
              <a:gd name="connsiteX0" fmla="*/ 4780205 w 6618313"/>
              <a:gd name="connsiteY0" fmla="*/ 0 h 6858000"/>
              <a:gd name="connsiteX1" fmla="*/ 6618313 w 6618313"/>
              <a:gd name="connsiteY1" fmla="*/ 0 h 6858000"/>
              <a:gd name="connsiteX2" fmla="*/ 4229619 w 6618313"/>
              <a:gd name="connsiteY2" fmla="*/ 6509169 h 6858000"/>
              <a:gd name="connsiteX3" fmla="*/ 4066561 w 6618313"/>
              <a:gd name="connsiteY3" fmla="*/ 6858000 h 6858000"/>
              <a:gd name="connsiteX4" fmla="*/ 308462 w 6618313"/>
              <a:gd name="connsiteY4" fmla="*/ 6858000 h 6858000"/>
              <a:gd name="connsiteX5" fmla="*/ 143992 w 6618313"/>
              <a:gd name="connsiteY5" fmla="*/ 6504932 h 6858000"/>
              <a:gd name="connsiteX6" fmla="*/ 32492 w 6618313"/>
              <a:gd name="connsiteY6" fmla="*/ 6199617 h 6858000"/>
              <a:gd name="connsiteX7" fmla="*/ 0 w 6618313"/>
              <a:gd name="connsiteY7" fmla="*/ 6110647 h 6858000"/>
              <a:gd name="connsiteX8" fmla="*/ 0 w 6618313"/>
              <a:gd name="connsiteY8" fmla="*/ 1076066 h 6858000"/>
              <a:gd name="connsiteX9" fmla="*/ 57021 w 6618313"/>
              <a:gd name="connsiteY9" fmla="*/ 1232363 h 6858000"/>
              <a:gd name="connsiteX10" fmla="*/ 1764690 w 6618313"/>
              <a:gd name="connsiteY10" fmla="*/ 5913189 h 6858000"/>
              <a:gd name="connsiteX11" fmla="*/ 2186806 w 6618313"/>
              <a:gd name="connsiteY11" fmla="*/ 6209061 h 6858000"/>
              <a:gd name="connsiteX12" fmla="*/ 2187511 w 6618313"/>
              <a:gd name="connsiteY12" fmla="*/ 6209061 h 6858000"/>
              <a:gd name="connsiteX13" fmla="*/ 2609627 w 6618313"/>
              <a:gd name="connsiteY13" fmla="*/ 5913895 h 6858000"/>
              <a:gd name="connsiteX14" fmla="*/ 4780205 w 6618313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618313" h="6858000">
                <a:moveTo>
                  <a:pt x="4780205" y="0"/>
                </a:moveTo>
                <a:lnTo>
                  <a:pt x="6618313" y="0"/>
                </a:lnTo>
                <a:cubicBezTo>
                  <a:pt x="6618313" y="0"/>
                  <a:pt x="6618313" y="0"/>
                  <a:pt x="4229619" y="6509169"/>
                </a:cubicBezTo>
                <a:cubicBezTo>
                  <a:pt x="4184443" y="6632036"/>
                  <a:pt x="4129384" y="6748549"/>
                  <a:pt x="4066561" y="6858000"/>
                </a:cubicBezTo>
                <a:cubicBezTo>
                  <a:pt x="4066561" y="6858000"/>
                  <a:pt x="4066561" y="6858000"/>
                  <a:pt x="308462" y="6858000"/>
                </a:cubicBezTo>
                <a:cubicBezTo>
                  <a:pt x="244227" y="6747137"/>
                  <a:pt x="189168" y="6629212"/>
                  <a:pt x="143992" y="6504932"/>
                </a:cubicBezTo>
                <a:cubicBezTo>
                  <a:pt x="143992" y="6504932"/>
                  <a:pt x="143992" y="6504932"/>
                  <a:pt x="32492" y="6199617"/>
                </a:cubicBezTo>
                <a:lnTo>
                  <a:pt x="0" y="6110647"/>
                </a:lnTo>
                <a:lnTo>
                  <a:pt x="0" y="1076066"/>
                </a:lnTo>
                <a:lnTo>
                  <a:pt x="57021" y="1232363"/>
                </a:lnTo>
                <a:cubicBezTo>
                  <a:pt x="344591" y="2020610"/>
                  <a:pt x="855827" y="3421939"/>
                  <a:pt x="1764690" y="5913189"/>
                </a:cubicBezTo>
                <a:cubicBezTo>
                  <a:pt x="1862101" y="6180109"/>
                  <a:pt x="2092218" y="6209061"/>
                  <a:pt x="2186806" y="6209061"/>
                </a:cubicBezTo>
                <a:cubicBezTo>
                  <a:pt x="2186806" y="6209061"/>
                  <a:pt x="2186806" y="6209061"/>
                  <a:pt x="2187511" y="6209061"/>
                </a:cubicBezTo>
                <a:cubicBezTo>
                  <a:pt x="2282099" y="6209061"/>
                  <a:pt x="2512216" y="6180109"/>
                  <a:pt x="2609627" y="5913895"/>
                </a:cubicBezTo>
                <a:cubicBezTo>
                  <a:pt x="2609627" y="5913895"/>
                  <a:pt x="2609627" y="5913895"/>
                  <a:pt x="478020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81953F5-23B4-442B-BCAB-3CFACF9EB4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12835" y="341919"/>
            <a:ext cx="2107801" cy="74385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BF10EEC-7180-40B0-99AD-49EBF1D7025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1847849" y="2672916"/>
            <a:ext cx="9972676" cy="1756792"/>
          </a:xfrm>
        </p:spPr>
        <p:txBody>
          <a:bodyPr anchor="ctr"/>
          <a:lstStyle>
            <a:lvl1pPr algn="l">
              <a:lnSpc>
                <a:spcPts val="5000"/>
              </a:lnSpc>
              <a:defRPr sz="5800"/>
            </a:lvl1pPr>
          </a:lstStyle>
          <a:p>
            <a:r>
              <a:rPr lang="fr-FR"/>
              <a:t>Modifiez le style du titre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038164-F6D3-4587-A969-E96281877C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62907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471685-7D27-41C2-BB27-E58202061E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CB13D563-06B7-404F-BB11-30D509A866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FF592FA-5F66-4F8A-BADA-B1572752F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8DFAC-312D-433E-A2AB-7A5857F64398}" type="datetimeFigureOut">
              <a:rPr lang="fr-FR" smtClean="0"/>
              <a:t>03/11/2020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27D9096-B659-4275-9F54-8D360F2B63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EB7923B-8748-4F11-8E23-E2C6C52382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5143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lead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7F30281-A66C-49CD-BC67-805AF8185F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93228"/>
            <a:ext cx="11449050" cy="983544"/>
          </a:xfrm>
        </p:spPr>
        <p:txBody>
          <a:bodyPr/>
          <a:lstStyle>
            <a:lvl1pPr>
              <a:lnSpc>
                <a:spcPts val="3800"/>
              </a:lnSpc>
              <a:defRPr sz="3800"/>
            </a:lvl1pPr>
          </a:lstStyle>
          <a:p>
            <a:r>
              <a:rPr lang="fr-FR" noProof="0"/>
              <a:t>Modifiez le style du titre</a:t>
            </a:r>
            <a:endParaRPr lang="de-DE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3BF31D-6648-425A-8115-2703ABA5A4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371474" y="1420396"/>
            <a:ext cx="11449051" cy="676456"/>
          </a:xfrm>
        </p:spPr>
        <p:txBody>
          <a:bodyPr/>
          <a:lstStyle>
            <a:lvl1pPr marL="0" indent="0">
              <a:buNone/>
              <a:defRPr sz="1900" cap="all" spc="8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pour modifier les styles du texte du masque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483044-202F-42BE-B623-A05A7143C4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AF49845-489A-4610-8F7A-332E15A8221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3016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772324"/>
            <a:ext cx="1144916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17AF036-266E-40BE-B0E0-C9289E59DA3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7C1C86E-090F-4145-8295-6AC6218E61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37627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476" y="1592263"/>
            <a:ext cx="5545138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C8604F5-DBA2-40D0-9476-4D86666A5A24}"/>
              </a:ext>
            </a:extLst>
          </p:cNvPr>
          <p:cNvSpPr>
            <a:spLocks noGrp="1"/>
          </p:cNvSpPr>
          <p:nvPr>
            <p:ph idx="16"/>
          </p:nvPr>
        </p:nvSpPr>
        <p:spPr bwMode="gray">
          <a:xfrm>
            <a:off x="6275387" y="1592263"/>
            <a:ext cx="5545137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3D5C47-19C8-4937-851E-9849C4C289D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59413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476" y="1592263"/>
            <a:ext cx="3563937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C8604F5-DBA2-40D0-9476-4D86666A5A24}"/>
              </a:ext>
            </a:extLst>
          </p:cNvPr>
          <p:cNvSpPr>
            <a:spLocks noGrp="1"/>
          </p:cNvSpPr>
          <p:nvPr>
            <p:ph idx="16"/>
          </p:nvPr>
        </p:nvSpPr>
        <p:spPr bwMode="gray">
          <a:xfrm>
            <a:off x="4295775" y="1592263"/>
            <a:ext cx="3600450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3D5C47-19C8-4937-851E-9849C4C289D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83DD1BA8-04B4-476C-AAC7-0F9177B68237}"/>
              </a:ext>
            </a:extLst>
          </p:cNvPr>
          <p:cNvSpPr>
            <a:spLocks noGrp="1"/>
          </p:cNvSpPr>
          <p:nvPr>
            <p:ph idx="19"/>
          </p:nvPr>
        </p:nvSpPr>
        <p:spPr bwMode="gray">
          <a:xfrm>
            <a:off x="8256588" y="1592263"/>
            <a:ext cx="3563936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35476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pictur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475" y="1592263"/>
            <a:ext cx="5545139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405CAC59-96CE-478C-9C75-954091EA13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6275385" y="1592263"/>
            <a:ext cx="5545139" cy="4285009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7018D7-73ED-44D4-933F-1BEAB17205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75388" y="5910894"/>
            <a:ext cx="5545136" cy="21844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de-DE" dirty="0"/>
              <a:t>Bildunterschrif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F1885B7-2E03-47DD-BD4B-63B7ACC2CC3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63869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and pictur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C325EB-BE14-422D-A6DB-EC36DD50623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71364" y="1592263"/>
            <a:ext cx="2592499" cy="45370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F3B27D5-EA0E-4516-B95F-89731B3E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772324"/>
            <a:ext cx="1144916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17F5985-A924-467A-A0A4-F51B07D2BD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ACC231-D213-4B79-9786-576D769969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405CAC59-96CE-478C-9C75-954091EA13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3324225" y="1592263"/>
            <a:ext cx="8496300" cy="4285009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7018D7-73ED-44D4-933F-1BEAB17205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24225" y="5910894"/>
            <a:ext cx="8496300" cy="21844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de-DE" dirty="0"/>
              <a:t>Bildunterschrif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3A71FD0-D6A4-4724-A464-B27A01326CB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7359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00BC5B3-F2A0-4A8D-9639-D8303B9B51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6858000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7F30281-A66C-49CD-BC67-805AF8185F1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3BF31D-6648-425A-8115-2703ABA5A4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772324"/>
            <a:ext cx="1144905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483044-202F-42BE-B623-A05A7143C4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4282ECD-EAC2-4687-ADA4-43F3F143166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39473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L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7F30281-A66C-49CD-BC67-805AF8185F1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3BF31D-6648-425A-8115-2703ABA5A4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772324"/>
            <a:ext cx="11449160" cy="280412"/>
          </a:xfrm>
        </p:spPr>
        <p:txBody>
          <a:bodyPr/>
          <a:lstStyle>
            <a:lvl1pPr marL="0" indent="0">
              <a:buNone/>
              <a:defRPr sz="1600" cap="all" spc="8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5483044-202F-42BE-B623-A05A7143C4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49D1E11-1F27-43E9-A619-3800CF71FD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0328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A110C601-1C9F-48C1-B18E-2411ED460D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8583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Diapositive think-cell" r:id="rId17" imgW="281" imgH="281" progId="TCLayout.ActiveDocument.1">
                  <p:embed/>
                </p:oleObj>
              </mc:Choice>
              <mc:Fallback>
                <p:oleObj name="Diapositive think-cell" r:id="rId17" imgW="281" imgH="281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A110C601-1C9F-48C1-B18E-2411ED460D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BFFF6CC-C644-4F8B-A7AD-82F83A4A2949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1F3E609-30E1-42A9-8D5E-E61AA83FAD6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55602"/>
            <a:ext cx="11449050" cy="3651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0A38B2-896B-48E2-B337-32EF709A1B6D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592263"/>
            <a:ext cx="11449050" cy="45370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8CC8C263-9E2F-40C3-8867-CB4A537C7B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371364" y="6570873"/>
            <a:ext cx="360040" cy="185105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 spc="30" baseline="0">
                <a:solidFill>
                  <a:schemeClr val="tx1"/>
                </a:solidFill>
              </a:defRPr>
            </a:lvl1pPr>
          </a:lstStyle>
          <a:p>
            <a:fld id="{6959F301-7672-4363-99AB-0BB08F5899C3}" type="slidenum">
              <a:rPr lang="fr-FR" smtClean="0"/>
              <a:t>‹N°›</a:t>
            </a:fld>
            <a:endParaRPr lang="fr-FR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1D678A09-755E-4ADC-AA02-C61252B670E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094217" y="6420146"/>
            <a:ext cx="726419" cy="256357"/>
          </a:xfrm>
          <a:prstGeom prst="rect">
            <a:avLst/>
          </a:prstGeom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1A783CE7-0EF9-4D14-8316-C8DF4EE33AA6}"/>
              </a:ext>
            </a:extLst>
          </p:cNvPr>
          <p:cNvSpPr/>
          <p:nvPr/>
        </p:nvSpPr>
        <p:spPr bwMode="gray">
          <a:xfrm>
            <a:off x="0" y="0"/>
            <a:ext cx="13811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CB3DE9A-7BF9-4BA5-BE98-B2F461168D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47849" y="6570875"/>
            <a:ext cx="8496301" cy="18510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51985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Tx/>
        <a:buChar char="&gt;"/>
        <a:defRPr sz="1600" kern="1200" spc="2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87">
          <p15:clr>
            <a:srgbClr val="F26B43"/>
          </p15:clr>
        </p15:guide>
        <p15:guide id="2" pos="234">
          <p15:clr>
            <a:srgbClr val="F26B43"/>
          </p15:clr>
        </p15:guide>
        <p15:guide id="3" pos="7446">
          <p15:clr>
            <a:srgbClr val="F26B43"/>
          </p15:clr>
        </p15:guide>
        <p15:guide id="4" pos="3727">
          <p15:clr>
            <a:srgbClr val="F26B43"/>
          </p15:clr>
        </p15:guide>
        <p15:guide id="5" pos="3953">
          <p15:clr>
            <a:srgbClr val="F26B43"/>
          </p15:clr>
        </p15:guide>
        <p15:guide id="6" pos="3024">
          <p15:clr>
            <a:srgbClr val="F26B43"/>
          </p15:clr>
        </p15:guide>
        <p15:guide id="7" pos="2797">
          <p15:clr>
            <a:srgbClr val="F26B43"/>
          </p15:clr>
        </p15:guide>
        <p15:guide id="8" pos="4656">
          <p15:clr>
            <a:srgbClr val="F26B43"/>
          </p15:clr>
        </p15:guide>
        <p15:guide id="9" pos="4883">
          <p15:clr>
            <a:srgbClr val="F26B43"/>
          </p15:clr>
        </p15:guide>
        <p15:guide id="10" pos="5586">
          <p15:clr>
            <a:srgbClr val="F26B43"/>
          </p15:clr>
        </p15:guide>
        <p15:guide id="11" pos="5813">
          <p15:clr>
            <a:srgbClr val="F26B43"/>
          </p15:clr>
        </p15:guide>
        <p15:guide id="12" pos="1867">
          <p15:clr>
            <a:srgbClr val="F26B43"/>
          </p15:clr>
        </p15:guide>
        <p15:guide id="13" pos="2094">
          <p15:clr>
            <a:srgbClr val="F26B43"/>
          </p15:clr>
        </p15:guide>
        <p15:guide id="14" pos="1164">
          <p15:clr>
            <a:srgbClr val="F26B43"/>
          </p15:clr>
        </p15:guide>
        <p15:guide id="15" pos="937">
          <p15:clr>
            <a:srgbClr val="F26B43"/>
          </p15:clr>
        </p15:guide>
        <p15:guide id="16" pos="6516">
          <p15:clr>
            <a:srgbClr val="F26B43"/>
          </p15:clr>
        </p15:guide>
        <p15:guide id="17" pos="6743">
          <p15:clr>
            <a:srgbClr val="F26B43"/>
          </p15:clr>
        </p15:guide>
        <p15:guide id="18" orient="horz" pos="1003">
          <p15:clr>
            <a:srgbClr val="F26B43"/>
          </p15:clr>
        </p15:guide>
        <p15:guide id="19" orient="horz" pos="3861">
          <p15:clr>
            <a:srgbClr val="F26B43"/>
          </p15:clr>
        </p15:guide>
        <p15:guide id="20" pos="3840">
          <p15:clr>
            <a:srgbClr val="F26B43"/>
          </p15:clr>
        </p15:guide>
        <p15:guide id="21" orient="horz" pos="2432">
          <p15:clr>
            <a:srgbClr val="F26B43"/>
          </p15:clr>
        </p15:guide>
        <p15:guide id="22" pos="2479">
          <p15:clr>
            <a:srgbClr val="F26B43"/>
          </p15:clr>
        </p15:guide>
        <p15:guide id="23" pos="2706">
          <p15:clr>
            <a:srgbClr val="F26B43"/>
          </p15:clr>
        </p15:guide>
        <p15:guide id="24" pos="5201">
          <p15:clr>
            <a:srgbClr val="F26B43"/>
          </p15:clr>
        </p15:guide>
        <p15:guide id="25" pos="4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AA4D8018-CACC-466B-9E67-7B9A36C547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0665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Diapositive think-cell" r:id="rId5" imgW="281" imgH="281" progId="TCLayout.ActiveDocument.1">
                  <p:embed/>
                </p:oleObj>
              </mc:Choice>
              <mc:Fallback>
                <p:oleObj name="Diapositive think-cell" r:id="rId5" imgW="281" imgH="281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AA4D8018-CACC-466B-9E67-7B9A36C547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75C59B2-FBF5-45FE-B31A-D6B07F03CE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50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7488764-8C4E-48F4-9382-AE725898356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Statut HW CW44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168F983-6374-407D-B298-2BA5121E624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E92EAEE-3A54-44E0-9970-642C1EE5EE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6201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23DEB53B-DFB3-4F53-9A6B-D2DEA6160E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0047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Diapositive think-cell" r:id="rId4" imgW="281" imgH="281" progId="TCLayout.ActiveDocument.1">
                  <p:embed/>
                </p:oleObj>
              </mc:Choice>
              <mc:Fallback>
                <p:oleObj name="Diapositive think-cell" r:id="rId4" imgW="281" imgH="28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23DEB53B-DFB3-4F53-9A6B-D2DEA6160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Espace réservé du contenu 8">
            <a:extLst>
              <a:ext uri="{FF2B5EF4-FFF2-40B4-BE49-F238E27FC236}">
                <a16:creationId xmlns:a16="http://schemas.microsoft.com/office/drawing/2014/main" id="{CB39F9DE-72C3-4D6D-A1B4-039344F4F5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6" y="1592263"/>
            <a:ext cx="5545138" cy="280413"/>
          </a:xfrm>
        </p:spPr>
        <p:txBody>
          <a:bodyPr/>
          <a:lstStyle/>
          <a:p>
            <a:r>
              <a:rPr lang="fr-FR" dirty="0"/>
              <a:t>TOP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226965C-8939-41A9-AF6E-53E13FEA2F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D70A0F6-3125-420A-8579-27DE9CC89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CB</a:t>
            </a:r>
          </a:p>
        </p:txBody>
      </p:sp>
      <p:sp>
        <p:nvSpPr>
          <p:cNvPr id="11" name="Espace réservé du contenu 10">
            <a:extLst>
              <a:ext uri="{FF2B5EF4-FFF2-40B4-BE49-F238E27FC236}">
                <a16:creationId xmlns:a16="http://schemas.microsoft.com/office/drawing/2014/main" id="{A0EBAE8B-F231-4956-9D49-BFB7646C025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75387" y="1592263"/>
            <a:ext cx="5545137" cy="280413"/>
          </a:xfrm>
        </p:spPr>
        <p:txBody>
          <a:bodyPr/>
          <a:lstStyle/>
          <a:p>
            <a:r>
              <a:rPr lang="fr-FR" dirty="0"/>
              <a:t>BOTTO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1D41B6E-5907-493E-8772-E9F0E99D76BA}"/>
              </a:ext>
            </a:extLst>
          </p:cNvPr>
          <p:cNvSpPr/>
          <p:nvPr/>
        </p:nvSpPr>
        <p:spPr>
          <a:xfrm>
            <a:off x="371475" y="2649996"/>
            <a:ext cx="5040000" cy="3240000"/>
          </a:xfrm>
          <a:prstGeom prst="rect">
            <a:avLst/>
          </a:prstGeom>
          <a:solidFill>
            <a:schemeClr val="accent3"/>
          </a:solidFill>
          <a:ln>
            <a:solidFill>
              <a:srgbClr val="3A6A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44424D8-4EDD-42E6-B693-01B8E15412E8}"/>
              </a:ext>
            </a:extLst>
          </p:cNvPr>
          <p:cNvSpPr/>
          <p:nvPr/>
        </p:nvSpPr>
        <p:spPr>
          <a:xfrm>
            <a:off x="551475" y="2829996"/>
            <a:ext cx="4680000" cy="2880000"/>
          </a:xfrm>
          <a:prstGeom prst="rect">
            <a:avLst/>
          </a:prstGeom>
          <a:solidFill>
            <a:srgbClr val="006EAA"/>
          </a:solidFill>
          <a:ln>
            <a:solidFill>
              <a:srgbClr val="0050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0A441C9-3CE9-4A0C-AEE9-F4B5511CE012}"/>
              </a:ext>
            </a:extLst>
          </p:cNvPr>
          <p:cNvSpPr/>
          <p:nvPr/>
        </p:nvSpPr>
        <p:spPr>
          <a:xfrm>
            <a:off x="6663218" y="2649996"/>
            <a:ext cx="5040000" cy="3240000"/>
          </a:xfrm>
          <a:prstGeom prst="rect">
            <a:avLst/>
          </a:prstGeom>
          <a:solidFill>
            <a:schemeClr val="accent3"/>
          </a:solidFill>
          <a:ln>
            <a:solidFill>
              <a:srgbClr val="3A6A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99DD33B-4560-4CD7-84B5-0FAC11EAD834}"/>
              </a:ext>
            </a:extLst>
          </p:cNvPr>
          <p:cNvSpPr/>
          <p:nvPr/>
        </p:nvSpPr>
        <p:spPr>
          <a:xfrm>
            <a:off x="703875" y="2982396"/>
            <a:ext cx="4320000" cy="2520000"/>
          </a:xfrm>
          <a:prstGeom prst="rect">
            <a:avLst/>
          </a:prstGeom>
          <a:solidFill>
            <a:schemeClr val="tx1">
              <a:lumMod val="50000"/>
            </a:schemeClr>
          </a:solidFill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LCD screen </a:t>
            </a:r>
            <a:r>
              <a:rPr lang="fr-FR" b="1" dirty="0" err="1">
                <a:solidFill>
                  <a:schemeClr val="bg1"/>
                </a:solidFill>
              </a:rPr>
              <a:t>touch</a:t>
            </a:r>
            <a:endParaRPr lang="fr-FR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FBFEE2-D1E8-43BC-B303-D41F10C97E68}"/>
              </a:ext>
            </a:extLst>
          </p:cNvPr>
          <p:cNvSpPr/>
          <p:nvPr/>
        </p:nvSpPr>
        <p:spPr>
          <a:xfrm>
            <a:off x="5916614" y="2829996"/>
            <a:ext cx="1021081" cy="28041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+12 VDC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F3C3D7-9ABE-4177-97D3-57A922AA680B}"/>
              </a:ext>
            </a:extLst>
          </p:cNvPr>
          <p:cNvSpPr/>
          <p:nvPr/>
        </p:nvSpPr>
        <p:spPr>
          <a:xfrm>
            <a:off x="6529345" y="3285508"/>
            <a:ext cx="239449" cy="495154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700" dirty="0">
                <a:solidFill>
                  <a:schemeClr val="bg1"/>
                </a:solidFill>
              </a:rPr>
              <a:t>ON/ OFF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DD147D9-CF94-42F1-A6FD-B2C9001A1572}"/>
              </a:ext>
            </a:extLst>
          </p:cNvPr>
          <p:cNvSpPr/>
          <p:nvPr/>
        </p:nvSpPr>
        <p:spPr>
          <a:xfrm>
            <a:off x="6340298" y="3533085"/>
            <a:ext cx="239449" cy="152400"/>
          </a:xfrm>
          <a:prstGeom prst="rect">
            <a:avLst/>
          </a:prstGeom>
          <a:solidFill>
            <a:srgbClr val="DC230F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9600F5-4F3C-40C7-8C44-E9B7BD090C81}"/>
              </a:ext>
            </a:extLst>
          </p:cNvPr>
          <p:cNvSpPr/>
          <p:nvPr/>
        </p:nvSpPr>
        <p:spPr>
          <a:xfrm rot="5400000">
            <a:off x="11347385" y="2970202"/>
            <a:ext cx="711665" cy="28041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HDMI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7A03867-B9E3-4508-8969-624ADCBE14E4}"/>
              </a:ext>
            </a:extLst>
          </p:cNvPr>
          <p:cNvSpPr/>
          <p:nvPr/>
        </p:nvSpPr>
        <p:spPr>
          <a:xfrm rot="16200000">
            <a:off x="6344542" y="4204818"/>
            <a:ext cx="568091" cy="28041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USB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DA046C-9E65-4FFE-8C1B-B15F12DBC2A2}"/>
              </a:ext>
            </a:extLst>
          </p:cNvPr>
          <p:cNvSpPr/>
          <p:nvPr/>
        </p:nvSpPr>
        <p:spPr>
          <a:xfrm>
            <a:off x="7214531" y="4067730"/>
            <a:ext cx="2541865" cy="1588918"/>
          </a:xfrm>
          <a:prstGeom prst="rect">
            <a:avLst/>
          </a:prstGeom>
          <a:solidFill>
            <a:schemeClr val="bg1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CU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69F9E0D-660B-4F9E-A53E-23347593B9E5}"/>
              </a:ext>
            </a:extLst>
          </p:cNvPr>
          <p:cNvSpPr/>
          <p:nvPr/>
        </p:nvSpPr>
        <p:spPr>
          <a:xfrm rot="16200000">
            <a:off x="9989065" y="3032129"/>
            <a:ext cx="1368000" cy="1008000"/>
          </a:xfrm>
          <a:prstGeom prst="rect">
            <a:avLst/>
          </a:prstGeom>
          <a:solidFill>
            <a:schemeClr val="bg2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ODULE HV3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5EC9FF6-5C03-461E-A623-0A30C6B97C48}"/>
              </a:ext>
            </a:extLst>
          </p:cNvPr>
          <p:cNvSpPr/>
          <p:nvPr/>
        </p:nvSpPr>
        <p:spPr>
          <a:xfrm rot="16200000">
            <a:off x="9989065" y="4551062"/>
            <a:ext cx="1368000" cy="1008000"/>
          </a:xfrm>
          <a:prstGeom prst="rect">
            <a:avLst/>
          </a:prstGeom>
          <a:solidFill>
            <a:schemeClr val="bg2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ODULE HV3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02ACFD5-4AA4-4E30-9843-75BB197A562B}"/>
              </a:ext>
            </a:extLst>
          </p:cNvPr>
          <p:cNvSpPr/>
          <p:nvPr/>
        </p:nvSpPr>
        <p:spPr>
          <a:xfrm>
            <a:off x="7214531" y="2924966"/>
            <a:ext cx="1384148" cy="1008000"/>
          </a:xfrm>
          <a:prstGeom prst="rect">
            <a:avLst/>
          </a:prstGeom>
          <a:solidFill>
            <a:schemeClr val="accent1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err="1">
                <a:solidFill>
                  <a:schemeClr val="bg1"/>
                </a:solidFill>
              </a:rPr>
              <a:t>Supplt</a:t>
            </a:r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1371BF66-81A5-44A1-9CD1-559F7AB0B442}"/>
              </a:ext>
            </a:extLst>
          </p:cNvPr>
          <p:cNvSpPr txBox="1"/>
          <p:nvPr/>
        </p:nvSpPr>
        <p:spPr>
          <a:xfrm>
            <a:off x="4345497" y="6434356"/>
            <a:ext cx="14334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sz="1400" dirty="0"/>
              <a:t>Pas à l’échelle !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9829BAD-AE2B-452E-9850-6108E068FDCD}"/>
              </a:ext>
            </a:extLst>
          </p:cNvPr>
          <p:cNvSpPr/>
          <p:nvPr/>
        </p:nvSpPr>
        <p:spPr>
          <a:xfrm rot="5400000">
            <a:off x="11416500" y="3717005"/>
            <a:ext cx="573436" cy="280412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BNC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1179B7D-9EC4-4017-BBDA-83FEE27DE9D8}"/>
              </a:ext>
            </a:extLst>
          </p:cNvPr>
          <p:cNvSpPr/>
          <p:nvPr/>
        </p:nvSpPr>
        <p:spPr>
          <a:xfrm rot="5400000">
            <a:off x="11350297" y="4529207"/>
            <a:ext cx="711665" cy="28041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HDMI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7253F55-9A3F-43D7-8F62-9EDABC9897C4}"/>
              </a:ext>
            </a:extLst>
          </p:cNvPr>
          <p:cNvSpPr/>
          <p:nvPr/>
        </p:nvSpPr>
        <p:spPr>
          <a:xfrm rot="5400000">
            <a:off x="11419412" y="5276010"/>
            <a:ext cx="573436" cy="280412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BNC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43E1FB7-E85E-4472-943A-35E83E122C4B}"/>
              </a:ext>
            </a:extLst>
          </p:cNvPr>
          <p:cNvSpPr/>
          <p:nvPr/>
        </p:nvSpPr>
        <p:spPr>
          <a:xfrm>
            <a:off x="8712432" y="2924966"/>
            <a:ext cx="1137990" cy="1008000"/>
          </a:xfrm>
          <a:prstGeom prst="rect">
            <a:avLst/>
          </a:prstGeom>
          <a:solidFill>
            <a:srgbClr val="006EAA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LCD</a:t>
            </a:r>
          </a:p>
          <a:p>
            <a:pPr algn="ctr"/>
            <a:r>
              <a:rPr lang="fr-FR" sz="1400" b="1" dirty="0">
                <a:solidFill>
                  <a:schemeClr val="bg1"/>
                </a:solidFill>
              </a:rPr>
              <a:t>Driver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7DD6B12-E847-493F-8E6E-9546A30A80AC}"/>
              </a:ext>
            </a:extLst>
          </p:cNvPr>
          <p:cNvSpPr/>
          <p:nvPr/>
        </p:nvSpPr>
        <p:spPr>
          <a:xfrm rot="16200000">
            <a:off x="6270501" y="4987099"/>
            <a:ext cx="568091" cy="428496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fr-FR" sz="1400" dirty="0">
                <a:solidFill>
                  <a:schemeClr val="bg1"/>
                </a:solidFill>
              </a:rPr>
              <a:t>DB9</a:t>
            </a:r>
          </a:p>
        </p:txBody>
      </p:sp>
    </p:spTree>
    <p:extLst>
      <p:ext uri="{BB962C8B-B14F-4D97-AF65-F5344CB8AC3E}">
        <p14:creationId xmlns:p14="http://schemas.microsoft.com/office/powerpoint/2010/main" val="18116670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23DEB53B-DFB3-4F53-9A6B-D2DEA6160E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840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Diapositive think-cell" r:id="rId4" imgW="281" imgH="281" progId="TCLayout.ActiveDocument.1">
                  <p:embed/>
                </p:oleObj>
              </mc:Choice>
              <mc:Fallback>
                <p:oleObj name="Diapositive think-cell" r:id="rId4" imgW="281" imgH="28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23DEB53B-DFB3-4F53-9A6B-D2DEA6160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226965C-8939-41A9-AF6E-53E13FEA2F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D70A0F6-3125-420A-8579-27DE9CC89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mmunication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1371BF66-81A5-44A1-9CD1-559F7AB0B442}"/>
              </a:ext>
            </a:extLst>
          </p:cNvPr>
          <p:cNvSpPr txBox="1"/>
          <p:nvPr/>
        </p:nvSpPr>
        <p:spPr>
          <a:xfrm>
            <a:off x="4345497" y="6434356"/>
            <a:ext cx="14334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sz="1400" dirty="0"/>
              <a:t>Pas à l’échelle !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0A441C9-3CE9-4A0C-AEE9-F4B5511CE012}"/>
              </a:ext>
            </a:extLst>
          </p:cNvPr>
          <p:cNvSpPr/>
          <p:nvPr/>
        </p:nvSpPr>
        <p:spPr>
          <a:xfrm>
            <a:off x="2672353" y="1352550"/>
            <a:ext cx="7058249" cy="4537446"/>
          </a:xfrm>
          <a:prstGeom prst="rect">
            <a:avLst/>
          </a:prstGeom>
          <a:solidFill>
            <a:schemeClr val="accent3">
              <a:alpha val="38000"/>
            </a:schemeClr>
          </a:solidFill>
          <a:ln>
            <a:solidFill>
              <a:srgbClr val="3A6A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FBFEE2-D1E8-43BC-B303-D41F10C97E68}"/>
              </a:ext>
            </a:extLst>
          </p:cNvPr>
          <p:cNvSpPr/>
          <p:nvPr/>
        </p:nvSpPr>
        <p:spPr>
          <a:xfrm>
            <a:off x="1626774" y="1604630"/>
            <a:ext cx="1429969" cy="39270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+12 VDC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F3C3D7-9ABE-4177-97D3-57A922AA680B}"/>
              </a:ext>
            </a:extLst>
          </p:cNvPr>
          <p:cNvSpPr/>
          <p:nvPr/>
        </p:nvSpPr>
        <p:spPr>
          <a:xfrm>
            <a:off x="2484871" y="2242550"/>
            <a:ext cx="335335" cy="693437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700" dirty="0">
                <a:solidFill>
                  <a:schemeClr val="bg1"/>
                </a:solidFill>
              </a:rPr>
              <a:t>ON/ OFF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DD147D9-CF94-42F1-A6FD-B2C9001A1572}"/>
              </a:ext>
            </a:extLst>
          </p:cNvPr>
          <p:cNvSpPr/>
          <p:nvPr/>
        </p:nvSpPr>
        <p:spPr>
          <a:xfrm>
            <a:off x="2220121" y="2589269"/>
            <a:ext cx="335335" cy="213428"/>
          </a:xfrm>
          <a:prstGeom prst="rect">
            <a:avLst/>
          </a:prstGeom>
          <a:solidFill>
            <a:srgbClr val="DC230F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7A03867-B9E3-4508-8969-624ADCBE14E4}"/>
              </a:ext>
            </a:extLst>
          </p:cNvPr>
          <p:cNvSpPr/>
          <p:nvPr/>
        </p:nvSpPr>
        <p:spPr>
          <a:xfrm rot="16200000">
            <a:off x="2226064" y="3529995"/>
            <a:ext cx="795581" cy="39270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USB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7DD6B12-E847-493F-8E6E-9546A30A80AC}"/>
              </a:ext>
            </a:extLst>
          </p:cNvPr>
          <p:cNvSpPr/>
          <p:nvPr/>
        </p:nvSpPr>
        <p:spPr>
          <a:xfrm rot="16200000">
            <a:off x="2122374" y="4939862"/>
            <a:ext cx="795581" cy="600086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fr-FR" sz="1400" dirty="0">
                <a:solidFill>
                  <a:schemeClr val="bg1"/>
                </a:solidFill>
              </a:rPr>
              <a:t>DB9</a:t>
            </a:r>
          </a:p>
        </p:txBody>
      </p:sp>
      <p:sp>
        <p:nvSpPr>
          <p:cNvPr id="4" name="Forme en L 3">
            <a:extLst>
              <a:ext uri="{FF2B5EF4-FFF2-40B4-BE49-F238E27FC236}">
                <a16:creationId xmlns:a16="http://schemas.microsoft.com/office/drawing/2014/main" id="{99CC945C-70FC-4C45-9F74-E9CD4C57840F}"/>
              </a:ext>
            </a:extLst>
          </p:cNvPr>
          <p:cNvSpPr/>
          <p:nvPr/>
        </p:nvSpPr>
        <p:spPr>
          <a:xfrm rot="10800000" flipH="1">
            <a:off x="7051575" y="2495657"/>
            <a:ext cx="993655" cy="2255902"/>
          </a:xfrm>
          <a:prstGeom prst="corner">
            <a:avLst>
              <a:gd name="adj1" fmla="val 19090"/>
              <a:gd name="adj2" fmla="val 21298"/>
            </a:avLst>
          </a:prstGeom>
          <a:solidFill>
            <a:srgbClr val="DC5F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SPI</a:t>
            </a:r>
          </a:p>
        </p:txBody>
      </p:sp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CE40AD23-138A-4465-8916-C07BE3515763}"/>
              </a:ext>
            </a:extLst>
          </p:cNvPr>
          <p:cNvSpPr/>
          <p:nvPr/>
        </p:nvSpPr>
        <p:spPr>
          <a:xfrm>
            <a:off x="6436566" y="4577855"/>
            <a:ext cx="1445940" cy="415187"/>
          </a:xfrm>
          <a:prstGeom prst="rightArrow">
            <a:avLst/>
          </a:prstGeom>
          <a:solidFill>
            <a:srgbClr val="DC5F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SPI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02ACFD5-4AA4-4E30-9843-75BB197A562B}"/>
              </a:ext>
            </a:extLst>
          </p:cNvPr>
          <p:cNvSpPr/>
          <p:nvPr/>
        </p:nvSpPr>
        <p:spPr>
          <a:xfrm>
            <a:off x="5521036" y="1597096"/>
            <a:ext cx="1360882" cy="1493915"/>
          </a:xfrm>
          <a:prstGeom prst="rect">
            <a:avLst/>
          </a:prstGeom>
          <a:solidFill>
            <a:schemeClr val="accent1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Alim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69F9E0D-660B-4F9E-A53E-23347593B9E5}"/>
              </a:ext>
            </a:extLst>
          </p:cNvPr>
          <p:cNvSpPr/>
          <p:nvPr/>
        </p:nvSpPr>
        <p:spPr>
          <a:xfrm rot="16200000">
            <a:off x="7666428" y="1995533"/>
            <a:ext cx="1440000" cy="828000"/>
          </a:xfrm>
          <a:prstGeom prst="rect">
            <a:avLst/>
          </a:prstGeom>
          <a:solidFill>
            <a:schemeClr val="bg2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ODULE HV3</a:t>
            </a:r>
          </a:p>
        </p:txBody>
      </p:sp>
      <p:sp>
        <p:nvSpPr>
          <p:cNvPr id="30" name="Flèche : droite 29">
            <a:extLst>
              <a:ext uri="{FF2B5EF4-FFF2-40B4-BE49-F238E27FC236}">
                <a16:creationId xmlns:a16="http://schemas.microsoft.com/office/drawing/2014/main" id="{9CA314A0-F5E2-4784-940F-D4ADD4A150AA}"/>
              </a:ext>
            </a:extLst>
          </p:cNvPr>
          <p:cNvSpPr/>
          <p:nvPr/>
        </p:nvSpPr>
        <p:spPr>
          <a:xfrm flipH="1">
            <a:off x="2844621" y="5074943"/>
            <a:ext cx="5097223" cy="415187"/>
          </a:xfrm>
          <a:prstGeom prst="right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SPI – I2C - UART</a:t>
            </a:r>
          </a:p>
        </p:txBody>
      </p:sp>
      <p:sp>
        <p:nvSpPr>
          <p:cNvPr id="31" name="Flèche : droite 30">
            <a:extLst>
              <a:ext uri="{FF2B5EF4-FFF2-40B4-BE49-F238E27FC236}">
                <a16:creationId xmlns:a16="http://schemas.microsoft.com/office/drawing/2014/main" id="{0DA88B09-5F0D-4E98-883C-2093B5E73FD7}"/>
              </a:ext>
            </a:extLst>
          </p:cNvPr>
          <p:cNvSpPr/>
          <p:nvPr/>
        </p:nvSpPr>
        <p:spPr>
          <a:xfrm rot="10800000">
            <a:off x="8829917" y="1822121"/>
            <a:ext cx="752831" cy="415187"/>
          </a:xfrm>
          <a:prstGeom prst="rightArrow">
            <a:avLst/>
          </a:prstGeom>
          <a:solidFill>
            <a:srgbClr val="FFC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33" name="Flèche : droite 32">
            <a:extLst>
              <a:ext uri="{FF2B5EF4-FFF2-40B4-BE49-F238E27FC236}">
                <a16:creationId xmlns:a16="http://schemas.microsoft.com/office/drawing/2014/main" id="{1CC3BDCB-EA42-42EE-B195-4D6FE85143DD}"/>
              </a:ext>
            </a:extLst>
          </p:cNvPr>
          <p:cNvSpPr/>
          <p:nvPr/>
        </p:nvSpPr>
        <p:spPr>
          <a:xfrm rot="10800000">
            <a:off x="8829917" y="2656651"/>
            <a:ext cx="752831" cy="415187"/>
          </a:xfrm>
          <a:prstGeom prst="rightArrow">
            <a:avLst/>
          </a:prstGeom>
          <a:solidFill>
            <a:srgbClr val="FFC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9600F5-4F3C-40C7-8C44-E9B7BD090C81}"/>
              </a:ext>
            </a:extLst>
          </p:cNvPr>
          <p:cNvSpPr/>
          <p:nvPr/>
        </p:nvSpPr>
        <p:spPr>
          <a:xfrm rot="5400000">
            <a:off x="9232277" y="1800981"/>
            <a:ext cx="996649" cy="39270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HDMI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9829BAD-AE2B-452E-9850-6108E068FDCD}"/>
              </a:ext>
            </a:extLst>
          </p:cNvPr>
          <p:cNvSpPr/>
          <p:nvPr/>
        </p:nvSpPr>
        <p:spPr>
          <a:xfrm rot="5400000">
            <a:off x="9329069" y="2846839"/>
            <a:ext cx="803066" cy="392702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BNC</a:t>
            </a:r>
          </a:p>
        </p:txBody>
      </p:sp>
      <p:sp>
        <p:nvSpPr>
          <p:cNvPr id="35" name="Flèche : droite 34">
            <a:extLst>
              <a:ext uri="{FF2B5EF4-FFF2-40B4-BE49-F238E27FC236}">
                <a16:creationId xmlns:a16="http://schemas.microsoft.com/office/drawing/2014/main" id="{201F5637-0B61-4715-B715-EE027D8C87D0}"/>
              </a:ext>
            </a:extLst>
          </p:cNvPr>
          <p:cNvSpPr/>
          <p:nvPr/>
        </p:nvSpPr>
        <p:spPr>
          <a:xfrm>
            <a:off x="8740250" y="4225092"/>
            <a:ext cx="794000" cy="415187"/>
          </a:xfrm>
          <a:prstGeom prst="rightArrow">
            <a:avLst/>
          </a:prstGeom>
          <a:solidFill>
            <a:srgbClr val="FFC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37" name="Flèche : droite 36">
            <a:extLst>
              <a:ext uri="{FF2B5EF4-FFF2-40B4-BE49-F238E27FC236}">
                <a16:creationId xmlns:a16="http://schemas.microsoft.com/office/drawing/2014/main" id="{93433DA9-7199-4D30-BA1C-DCE58687AB21}"/>
              </a:ext>
            </a:extLst>
          </p:cNvPr>
          <p:cNvSpPr/>
          <p:nvPr/>
        </p:nvSpPr>
        <p:spPr>
          <a:xfrm>
            <a:off x="8749775" y="5059622"/>
            <a:ext cx="779397" cy="415187"/>
          </a:xfrm>
          <a:prstGeom prst="rightArrow">
            <a:avLst/>
          </a:prstGeom>
          <a:solidFill>
            <a:srgbClr val="FFC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5EC9FF6-5C03-461E-A623-0A30C6B97C48}"/>
              </a:ext>
            </a:extLst>
          </p:cNvPr>
          <p:cNvSpPr/>
          <p:nvPr/>
        </p:nvSpPr>
        <p:spPr>
          <a:xfrm rot="16200000">
            <a:off x="7591378" y="4371450"/>
            <a:ext cx="1440000" cy="828000"/>
          </a:xfrm>
          <a:prstGeom prst="rect">
            <a:avLst/>
          </a:prstGeom>
          <a:solidFill>
            <a:schemeClr val="bg2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ODULE HV3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1179B7D-9EC4-4017-BBDA-83FEE27DE9D8}"/>
              </a:ext>
            </a:extLst>
          </p:cNvPr>
          <p:cNvSpPr/>
          <p:nvPr/>
        </p:nvSpPr>
        <p:spPr>
          <a:xfrm rot="5400000">
            <a:off x="9236355" y="3984284"/>
            <a:ext cx="996649" cy="39270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HDMI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7253F55-9A3F-43D7-8F62-9EDABC9897C4}"/>
              </a:ext>
            </a:extLst>
          </p:cNvPr>
          <p:cNvSpPr/>
          <p:nvPr/>
        </p:nvSpPr>
        <p:spPr>
          <a:xfrm rot="5400000">
            <a:off x="9333147" y="5030142"/>
            <a:ext cx="803066" cy="392702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BNC</a:t>
            </a:r>
          </a:p>
        </p:txBody>
      </p:sp>
      <p:sp>
        <p:nvSpPr>
          <p:cNvPr id="38" name="Flèche : droite 37">
            <a:extLst>
              <a:ext uri="{FF2B5EF4-FFF2-40B4-BE49-F238E27FC236}">
                <a16:creationId xmlns:a16="http://schemas.microsoft.com/office/drawing/2014/main" id="{0142DB6E-86F4-40CC-80B8-EB2F08776017}"/>
              </a:ext>
            </a:extLst>
          </p:cNvPr>
          <p:cNvSpPr/>
          <p:nvPr/>
        </p:nvSpPr>
        <p:spPr>
          <a:xfrm flipH="1">
            <a:off x="2829276" y="3552013"/>
            <a:ext cx="1589232" cy="415187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FTDI / UART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9F66BDD9-EF9A-4BC6-B3F6-0C6C94625B6B}"/>
              </a:ext>
            </a:extLst>
          </p:cNvPr>
          <p:cNvGrpSpPr/>
          <p:nvPr/>
        </p:nvGrpSpPr>
        <p:grpSpPr>
          <a:xfrm>
            <a:off x="4558460" y="2408153"/>
            <a:ext cx="451871" cy="1442760"/>
            <a:chOff x="10587440" y="1934097"/>
            <a:chExt cx="451871" cy="144276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2F86EEC-AD89-4CB1-9ABF-4763B69AF98F}"/>
                </a:ext>
              </a:extLst>
            </p:cNvPr>
            <p:cNvSpPr/>
            <p:nvPr/>
          </p:nvSpPr>
          <p:spPr>
            <a:xfrm>
              <a:off x="10587440" y="1934097"/>
              <a:ext cx="451871" cy="1440000"/>
            </a:xfrm>
            <a:prstGeom prst="rect">
              <a:avLst/>
            </a:prstGeom>
            <a:ln w="381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9" name="Connecteur droit 8">
              <a:extLst>
                <a:ext uri="{FF2B5EF4-FFF2-40B4-BE49-F238E27FC236}">
                  <a16:creationId xmlns:a16="http://schemas.microsoft.com/office/drawing/2014/main" id="{C7B7523D-4D82-4E99-94B5-41865B4DEF22}"/>
                </a:ext>
              </a:extLst>
            </p:cNvPr>
            <p:cNvCxnSpPr/>
            <p:nvPr/>
          </p:nvCxnSpPr>
          <p:spPr>
            <a:xfrm>
              <a:off x="10643660" y="1936857"/>
              <a:ext cx="0" cy="144000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cteur droit 38">
              <a:extLst>
                <a:ext uri="{FF2B5EF4-FFF2-40B4-BE49-F238E27FC236}">
                  <a16:creationId xmlns:a16="http://schemas.microsoft.com/office/drawing/2014/main" id="{0D8A4EA9-686E-4DA2-88DC-32C71DF7C006}"/>
                </a:ext>
              </a:extLst>
            </p:cNvPr>
            <p:cNvCxnSpPr/>
            <p:nvPr/>
          </p:nvCxnSpPr>
          <p:spPr>
            <a:xfrm>
              <a:off x="10753022" y="1936857"/>
              <a:ext cx="0" cy="1440000"/>
            </a:xfrm>
            <a:prstGeom prst="line">
              <a:avLst/>
            </a:prstGeom>
            <a:ln w="19050">
              <a:solidFill>
                <a:srgbClr val="FFC3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necteur droit 40">
              <a:extLst>
                <a:ext uri="{FF2B5EF4-FFF2-40B4-BE49-F238E27FC236}">
                  <a16:creationId xmlns:a16="http://schemas.microsoft.com/office/drawing/2014/main" id="{86D58DD8-C7EE-4830-80E6-E0A5D728E818}"/>
                </a:ext>
              </a:extLst>
            </p:cNvPr>
            <p:cNvCxnSpPr/>
            <p:nvPr/>
          </p:nvCxnSpPr>
          <p:spPr>
            <a:xfrm>
              <a:off x="10935292" y="1936857"/>
              <a:ext cx="0" cy="1440000"/>
            </a:xfrm>
            <a:prstGeom prst="line">
              <a:avLst/>
            </a:prstGeom>
            <a:ln w="19050">
              <a:solidFill>
                <a:schemeClr val="accent6">
                  <a:lumMod val="90000"/>
                  <a:lumOff val="1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necteur droit 42">
              <a:extLst>
                <a:ext uri="{FF2B5EF4-FFF2-40B4-BE49-F238E27FC236}">
                  <a16:creationId xmlns:a16="http://schemas.microsoft.com/office/drawing/2014/main" id="{11BF0AA4-2C17-4B82-BE99-44DC2B004A53}"/>
                </a:ext>
              </a:extLst>
            </p:cNvPr>
            <p:cNvCxnSpPr/>
            <p:nvPr/>
          </p:nvCxnSpPr>
          <p:spPr>
            <a:xfrm>
              <a:off x="10680114" y="1936857"/>
              <a:ext cx="0" cy="144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cteur droit 43">
              <a:extLst>
                <a:ext uri="{FF2B5EF4-FFF2-40B4-BE49-F238E27FC236}">
                  <a16:creationId xmlns:a16="http://schemas.microsoft.com/office/drawing/2014/main" id="{322EEB32-9F13-4064-B9B6-02A658502170}"/>
                </a:ext>
              </a:extLst>
            </p:cNvPr>
            <p:cNvCxnSpPr/>
            <p:nvPr/>
          </p:nvCxnSpPr>
          <p:spPr>
            <a:xfrm>
              <a:off x="10789476" y="1936857"/>
              <a:ext cx="0" cy="144000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necteur droit 44">
              <a:extLst>
                <a:ext uri="{FF2B5EF4-FFF2-40B4-BE49-F238E27FC236}">
                  <a16:creationId xmlns:a16="http://schemas.microsoft.com/office/drawing/2014/main" id="{A0244A29-AA13-4108-AD2C-024AA9CF0036}"/>
                </a:ext>
              </a:extLst>
            </p:cNvPr>
            <p:cNvCxnSpPr/>
            <p:nvPr/>
          </p:nvCxnSpPr>
          <p:spPr>
            <a:xfrm>
              <a:off x="10716568" y="1936857"/>
              <a:ext cx="0" cy="1440000"/>
            </a:xfrm>
            <a:prstGeom prst="line">
              <a:avLst/>
            </a:prstGeom>
            <a:ln w="19050">
              <a:solidFill>
                <a:srgbClr val="00A5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Connecteur droit 45">
              <a:extLst>
                <a:ext uri="{FF2B5EF4-FFF2-40B4-BE49-F238E27FC236}">
                  <a16:creationId xmlns:a16="http://schemas.microsoft.com/office/drawing/2014/main" id="{A3F48E83-41EA-4E0D-81EC-36DB800B705A}"/>
                </a:ext>
              </a:extLst>
            </p:cNvPr>
            <p:cNvCxnSpPr/>
            <p:nvPr/>
          </p:nvCxnSpPr>
          <p:spPr>
            <a:xfrm>
              <a:off x="10825930" y="1936857"/>
              <a:ext cx="0" cy="1440000"/>
            </a:xfrm>
            <a:prstGeom prst="line">
              <a:avLst/>
            </a:prstGeom>
            <a:ln w="19050">
              <a:solidFill>
                <a:srgbClr val="DC5F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necteur droit 46">
              <a:extLst>
                <a:ext uri="{FF2B5EF4-FFF2-40B4-BE49-F238E27FC236}">
                  <a16:creationId xmlns:a16="http://schemas.microsoft.com/office/drawing/2014/main" id="{D6C712D3-29E7-4144-8161-FD322703328F}"/>
                </a:ext>
              </a:extLst>
            </p:cNvPr>
            <p:cNvCxnSpPr/>
            <p:nvPr/>
          </p:nvCxnSpPr>
          <p:spPr>
            <a:xfrm>
              <a:off x="10971745" y="1936857"/>
              <a:ext cx="0" cy="144000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eur droit 47">
              <a:extLst>
                <a:ext uri="{FF2B5EF4-FFF2-40B4-BE49-F238E27FC236}">
                  <a16:creationId xmlns:a16="http://schemas.microsoft.com/office/drawing/2014/main" id="{68F8ABD2-2A17-480B-8068-5520870A21B8}"/>
                </a:ext>
              </a:extLst>
            </p:cNvPr>
            <p:cNvCxnSpPr/>
            <p:nvPr/>
          </p:nvCxnSpPr>
          <p:spPr>
            <a:xfrm>
              <a:off x="10862384" y="1936857"/>
              <a:ext cx="0" cy="144000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eur droit 48">
              <a:extLst>
                <a:ext uri="{FF2B5EF4-FFF2-40B4-BE49-F238E27FC236}">
                  <a16:creationId xmlns:a16="http://schemas.microsoft.com/office/drawing/2014/main" id="{8D3517ED-64F6-4AFC-9C37-57183850FA6C}"/>
                </a:ext>
              </a:extLst>
            </p:cNvPr>
            <p:cNvCxnSpPr/>
            <p:nvPr/>
          </p:nvCxnSpPr>
          <p:spPr>
            <a:xfrm>
              <a:off x="10898838" y="1936857"/>
              <a:ext cx="0" cy="144000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343E1FB7-E85E-4472-943A-35E83E122C4B}"/>
              </a:ext>
            </a:extLst>
          </p:cNvPr>
          <p:cNvSpPr/>
          <p:nvPr/>
        </p:nvSpPr>
        <p:spPr>
          <a:xfrm>
            <a:off x="3512380" y="1882965"/>
            <a:ext cx="1593694" cy="891708"/>
          </a:xfrm>
          <a:prstGeom prst="rect">
            <a:avLst/>
          </a:prstGeom>
          <a:solidFill>
            <a:srgbClr val="006EAA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LCD</a:t>
            </a:r>
          </a:p>
          <a:p>
            <a:pPr algn="ctr"/>
            <a:r>
              <a:rPr lang="fr-FR" sz="1400" b="1" dirty="0" err="1">
                <a:solidFill>
                  <a:schemeClr val="bg1"/>
                </a:solidFill>
              </a:rPr>
              <a:t>Controleur</a:t>
            </a:r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DA046C-9E65-4FFE-8C1B-B15F12DBC2A2}"/>
              </a:ext>
            </a:extLst>
          </p:cNvPr>
          <p:cNvSpPr/>
          <p:nvPr/>
        </p:nvSpPr>
        <p:spPr>
          <a:xfrm>
            <a:off x="4313305" y="3594580"/>
            <a:ext cx="2123260" cy="1363719"/>
          </a:xfrm>
          <a:prstGeom prst="rect">
            <a:avLst/>
          </a:prstGeom>
          <a:solidFill>
            <a:schemeClr val="bg1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Carte MCU</a:t>
            </a:r>
          </a:p>
        </p:txBody>
      </p:sp>
    </p:spTree>
    <p:extLst>
      <p:ext uri="{BB962C8B-B14F-4D97-AF65-F5344CB8AC3E}">
        <p14:creationId xmlns:p14="http://schemas.microsoft.com/office/powerpoint/2010/main" val="37591600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6877B1A1-1A1A-4C0E-A88F-8C76E5ADCA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28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Diapositive think-cell" r:id="rId4" imgW="281" imgH="281" progId="TCLayout.ActiveDocument.1">
                  <p:embed/>
                </p:oleObj>
              </mc:Choice>
              <mc:Fallback>
                <p:oleObj name="Diapositive think-cell" r:id="rId4" imgW="281" imgH="28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6877B1A1-1A1A-4C0E-A88F-8C76E5ADCA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leau 10">
            <a:extLst>
              <a:ext uri="{FF2B5EF4-FFF2-40B4-BE49-F238E27FC236}">
                <a16:creationId xmlns:a16="http://schemas.microsoft.com/office/drawing/2014/main" id="{575B0A52-15F5-4C03-B1E4-B6E175C7E11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46615505"/>
              </p:ext>
            </p:extLst>
          </p:nvPr>
        </p:nvGraphicFramePr>
        <p:xfrm>
          <a:off x="371475" y="1628839"/>
          <a:ext cx="11449050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9810">
                  <a:extLst>
                    <a:ext uri="{9D8B030D-6E8A-4147-A177-3AD203B41FA5}">
                      <a16:colId xmlns:a16="http://schemas.microsoft.com/office/drawing/2014/main" val="1972208938"/>
                    </a:ext>
                  </a:extLst>
                </a:gridCol>
                <a:gridCol w="2289810">
                  <a:extLst>
                    <a:ext uri="{9D8B030D-6E8A-4147-A177-3AD203B41FA5}">
                      <a16:colId xmlns:a16="http://schemas.microsoft.com/office/drawing/2014/main" val="2559987795"/>
                    </a:ext>
                  </a:extLst>
                </a:gridCol>
                <a:gridCol w="2289810">
                  <a:extLst>
                    <a:ext uri="{9D8B030D-6E8A-4147-A177-3AD203B41FA5}">
                      <a16:colId xmlns:a16="http://schemas.microsoft.com/office/drawing/2014/main" val="3386396177"/>
                    </a:ext>
                  </a:extLst>
                </a:gridCol>
                <a:gridCol w="2289810">
                  <a:extLst>
                    <a:ext uri="{9D8B030D-6E8A-4147-A177-3AD203B41FA5}">
                      <a16:colId xmlns:a16="http://schemas.microsoft.com/office/drawing/2014/main" val="2987205297"/>
                    </a:ext>
                  </a:extLst>
                </a:gridCol>
                <a:gridCol w="2289810">
                  <a:extLst>
                    <a:ext uri="{9D8B030D-6E8A-4147-A177-3AD203B41FA5}">
                      <a16:colId xmlns:a16="http://schemas.microsoft.com/office/drawing/2014/main" val="341029627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/>
                        <a:t>Typ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Ma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Un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80003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MCU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m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31794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LCD screen </a:t>
                      </a:r>
                      <a:r>
                        <a:rPr lang="fr-FR" dirty="0" err="1"/>
                        <a:t>touch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3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m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49083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LCD driv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m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91766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HV3 module (1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86615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HV3 module (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42665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08629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b="1" dirty="0">
                          <a:solidFill>
                            <a:schemeClr val="tx1"/>
                          </a:solidFill>
                        </a:rP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b="1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b="1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b="1" dirty="0">
                          <a:solidFill>
                            <a:schemeClr val="tx1"/>
                          </a:solidFill>
                        </a:rPr>
                        <a:t>2.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8686316"/>
                  </a:ext>
                </a:extLst>
              </a:tr>
            </a:tbl>
          </a:graphicData>
        </a:graphic>
      </p:graphicFrame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04A2E59E-E515-4DB9-8548-1068308BE6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err="1"/>
              <a:t>Current</a:t>
            </a:r>
            <a:r>
              <a:rPr lang="fr-FR" dirty="0"/>
              <a:t> estima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BE58BC-8CE9-4E6A-BC33-C4297FEBE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Supply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393012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23DEB53B-DFB3-4F53-9A6B-D2DEA6160E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Diapositive think-cell" r:id="rId4" imgW="281" imgH="281" progId="TCLayout.ActiveDocument.1">
                  <p:embed/>
                </p:oleObj>
              </mc:Choice>
              <mc:Fallback>
                <p:oleObj name="Diapositive think-cell" r:id="rId4" imgW="281" imgH="28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23DEB53B-DFB3-4F53-9A6B-D2DEA6160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226965C-8939-41A9-AF6E-53E13FEA2F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D70A0F6-3125-420A-8579-27DE9CC89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limentation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1371BF66-81A5-44A1-9CD1-559F7AB0B442}"/>
              </a:ext>
            </a:extLst>
          </p:cNvPr>
          <p:cNvSpPr txBox="1"/>
          <p:nvPr/>
        </p:nvSpPr>
        <p:spPr>
          <a:xfrm>
            <a:off x="9760259" y="6550223"/>
            <a:ext cx="14334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fr-FR" sz="1400" dirty="0"/>
              <a:t>Pas à l’échelle !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0A441C9-3CE9-4A0C-AEE9-F4B5511CE012}"/>
              </a:ext>
            </a:extLst>
          </p:cNvPr>
          <p:cNvSpPr/>
          <p:nvPr/>
        </p:nvSpPr>
        <p:spPr>
          <a:xfrm>
            <a:off x="2249778" y="2060473"/>
            <a:ext cx="7058249" cy="4537446"/>
          </a:xfrm>
          <a:prstGeom prst="rect">
            <a:avLst/>
          </a:prstGeom>
          <a:solidFill>
            <a:schemeClr val="accent3">
              <a:alpha val="38000"/>
            </a:schemeClr>
          </a:solidFill>
          <a:ln>
            <a:solidFill>
              <a:srgbClr val="3A6A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FBFEE2-D1E8-43BC-B303-D41F10C97E68}"/>
              </a:ext>
            </a:extLst>
          </p:cNvPr>
          <p:cNvSpPr/>
          <p:nvPr/>
        </p:nvSpPr>
        <p:spPr>
          <a:xfrm>
            <a:off x="1204199" y="2312553"/>
            <a:ext cx="1429969" cy="39270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+12 VDC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F3C3D7-9ABE-4177-97D3-57A922AA680B}"/>
              </a:ext>
            </a:extLst>
          </p:cNvPr>
          <p:cNvSpPr/>
          <p:nvPr/>
        </p:nvSpPr>
        <p:spPr>
          <a:xfrm>
            <a:off x="2062296" y="2950473"/>
            <a:ext cx="335335" cy="693437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700" dirty="0">
                <a:solidFill>
                  <a:schemeClr val="bg1"/>
                </a:solidFill>
              </a:rPr>
              <a:t>ON/ OFF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DD147D9-CF94-42F1-A6FD-B2C9001A1572}"/>
              </a:ext>
            </a:extLst>
          </p:cNvPr>
          <p:cNvSpPr/>
          <p:nvPr/>
        </p:nvSpPr>
        <p:spPr>
          <a:xfrm>
            <a:off x="1797546" y="3297192"/>
            <a:ext cx="335335" cy="213428"/>
          </a:xfrm>
          <a:prstGeom prst="rect">
            <a:avLst/>
          </a:prstGeom>
          <a:solidFill>
            <a:srgbClr val="DC230F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7A03867-B9E3-4508-8969-624ADCBE14E4}"/>
              </a:ext>
            </a:extLst>
          </p:cNvPr>
          <p:cNvSpPr/>
          <p:nvPr/>
        </p:nvSpPr>
        <p:spPr>
          <a:xfrm rot="16200000">
            <a:off x="1803489" y="4237918"/>
            <a:ext cx="795581" cy="39270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USB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7DD6B12-E847-493F-8E6E-9546A30A80AC}"/>
              </a:ext>
            </a:extLst>
          </p:cNvPr>
          <p:cNvSpPr/>
          <p:nvPr/>
        </p:nvSpPr>
        <p:spPr>
          <a:xfrm rot="16200000">
            <a:off x="1699799" y="5647785"/>
            <a:ext cx="795581" cy="600086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fr-FR" sz="1400" dirty="0">
                <a:solidFill>
                  <a:schemeClr val="bg1"/>
                </a:solidFill>
              </a:rPr>
              <a:t>DB9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69F9E0D-660B-4F9E-A53E-23347593B9E5}"/>
              </a:ext>
            </a:extLst>
          </p:cNvPr>
          <p:cNvSpPr/>
          <p:nvPr/>
        </p:nvSpPr>
        <p:spPr>
          <a:xfrm rot="16200000">
            <a:off x="7404731" y="2718801"/>
            <a:ext cx="1440000" cy="828000"/>
          </a:xfrm>
          <a:prstGeom prst="rect">
            <a:avLst/>
          </a:prstGeom>
          <a:solidFill>
            <a:schemeClr val="bg2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ODULE HV3</a:t>
            </a:r>
          </a:p>
        </p:txBody>
      </p:sp>
      <p:sp>
        <p:nvSpPr>
          <p:cNvPr id="30" name="Flèche : droite 29">
            <a:extLst>
              <a:ext uri="{FF2B5EF4-FFF2-40B4-BE49-F238E27FC236}">
                <a16:creationId xmlns:a16="http://schemas.microsoft.com/office/drawing/2014/main" id="{9CA314A0-F5E2-4784-940F-D4ADD4A150AA}"/>
              </a:ext>
            </a:extLst>
          </p:cNvPr>
          <p:cNvSpPr/>
          <p:nvPr/>
        </p:nvSpPr>
        <p:spPr>
          <a:xfrm>
            <a:off x="6438357" y="2788393"/>
            <a:ext cx="1272374" cy="415187"/>
          </a:xfrm>
          <a:prstGeom prst="right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3.3 V 1.5 A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9600F5-4F3C-40C7-8C44-E9B7BD090C81}"/>
              </a:ext>
            </a:extLst>
          </p:cNvPr>
          <p:cNvSpPr/>
          <p:nvPr/>
        </p:nvSpPr>
        <p:spPr>
          <a:xfrm rot="5400000">
            <a:off x="8809702" y="2508904"/>
            <a:ext cx="996649" cy="39270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HDMI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9829BAD-AE2B-452E-9850-6108E068FDCD}"/>
              </a:ext>
            </a:extLst>
          </p:cNvPr>
          <p:cNvSpPr/>
          <p:nvPr/>
        </p:nvSpPr>
        <p:spPr>
          <a:xfrm rot="5400000">
            <a:off x="8906494" y="3554762"/>
            <a:ext cx="803066" cy="392702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BNC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5EC9FF6-5C03-461E-A623-0A30C6B97C48}"/>
              </a:ext>
            </a:extLst>
          </p:cNvPr>
          <p:cNvSpPr/>
          <p:nvPr/>
        </p:nvSpPr>
        <p:spPr>
          <a:xfrm rot="16200000">
            <a:off x="7405523" y="5011754"/>
            <a:ext cx="1440000" cy="828000"/>
          </a:xfrm>
          <a:prstGeom prst="rect">
            <a:avLst/>
          </a:prstGeom>
          <a:solidFill>
            <a:schemeClr val="bg2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ODULE HV3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1179B7D-9EC4-4017-BBDA-83FEE27DE9D8}"/>
              </a:ext>
            </a:extLst>
          </p:cNvPr>
          <p:cNvSpPr/>
          <p:nvPr/>
        </p:nvSpPr>
        <p:spPr>
          <a:xfrm rot="5400000">
            <a:off x="8813780" y="4692207"/>
            <a:ext cx="996649" cy="392703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HDMI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7253F55-9A3F-43D7-8F62-9EDABC9897C4}"/>
              </a:ext>
            </a:extLst>
          </p:cNvPr>
          <p:cNvSpPr/>
          <p:nvPr/>
        </p:nvSpPr>
        <p:spPr>
          <a:xfrm rot="5400000">
            <a:off x="8910572" y="5738065"/>
            <a:ext cx="803066" cy="392702"/>
          </a:xfrm>
          <a:prstGeom prst="rect">
            <a:avLst/>
          </a:prstGeom>
          <a:solidFill>
            <a:schemeClr val="tx1">
              <a:lumMod val="5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BNC</a:t>
            </a:r>
          </a:p>
        </p:txBody>
      </p:sp>
      <p:sp>
        <p:nvSpPr>
          <p:cNvPr id="12" name="Flèche : angle droit 11">
            <a:extLst>
              <a:ext uri="{FF2B5EF4-FFF2-40B4-BE49-F238E27FC236}">
                <a16:creationId xmlns:a16="http://schemas.microsoft.com/office/drawing/2014/main" id="{4B52B259-EF70-4125-8614-578481762851}"/>
              </a:ext>
            </a:extLst>
          </p:cNvPr>
          <p:cNvSpPr/>
          <p:nvPr/>
        </p:nvSpPr>
        <p:spPr>
          <a:xfrm rot="5400000">
            <a:off x="6081359" y="3876414"/>
            <a:ext cx="1726021" cy="1532721"/>
          </a:xfrm>
          <a:prstGeom prst="bentUpArrow">
            <a:avLst>
              <a:gd name="adj1" fmla="val 17808"/>
              <a:gd name="adj2" fmla="val 16263"/>
              <a:gd name="adj3" fmla="val 19175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3.3 V 1.5 A</a:t>
            </a:r>
          </a:p>
        </p:txBody>
      </p:sp>
      <p:grpSp>
        <p:nvGrpSpPr>
          <p:cNvPr id="50" name="Groupe 49">
            <a:extLst>
              <a:ext uri="{FF2B5EF4-FFF2-40B4-BE49-F238E27FC236}">
                <a16:creationId xmlns:a16="http://schemas.microsoft.com/office/drawing/2014/main" id="{49034100-ED2F-406D-891A-62FE25D794B2}"/>
              </a:ext>
            </a:extLst>
          </p:cNvPr>
          <p:cNvGrpSpPr/>
          <p:nvPr/>
        </p:nvGrpSpPr>
        <p:grpSpPr>
          <a:xfrm>
            <a:off x="9644269" y="1078348"/>
            <a:ext cx="1789053" cy="1059776"/>
            <a:chOff x="551475" y="4650220"/>
            <a:chExt cx="1789053" cy="1059776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EBD52EF-441C-4FB7-885F-D2B7435D5015}"/>
                </a:ext>
              </a:extLst>
            </p:cNvPr>
            <p:cNvSpPr/>
            <p:nvPr/>
          </p:nvSpPr>
          <p:spPr>
            <a:xfrm>
              <a:off x="551475" y="4650220"/>
              <a:ext cx="1789053" cy="1059776"/>
            </a:xfrm>
            <a:prstGeom prst="rect">
              <a:avLst/>
            </a:prstGeom>
            <a:solidFill>
              <a:srgbClr val="006EAA"/>
            </a:solidFill>
            <a:ln>
              <a:solidFill>
                <a:srgbClr val="0050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9E6B687-6862-477B-B8A5-11A30CBC198A}"/>
                </a:ext>
              </a:extLst>
            </p:cNvPr>
            <p:cNvSpPr/>
            <p:nvPr/>
          </p:nvSpPr>
          <p:spPr>
            <a:xfrm>
              <a:off x="618313" y="4716456"/>
              <a:ext cx="1651434" cy="927304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571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b="1" dirty="0">
                  <a:solidFill>
                    <a:schemeClr val="bg1"/>
                  </a:solidFill>
                </a:rPr>
                <a:t>ECRAN</a:t>
              </a:r>
            </a:p>
          </p:txBody>
        </p:sp>
      </p:grpSp>
      <p:sp>
        <p:nvSpPr>
          <p:cNvPr id="53" name="Flèche : angle droit 52">
            <a:extLst>
              <a:ext uri="{FF2B5EF4-FFF2-40B4-BE49-F238E27FC236}">
                <a16:creationId xmlns:a16="http://schemas.microsoft.com/office/drawing/2014/main" id="{073FFE4E-6E48-47CB-8152-88ECF1D33EAF}"/>
              </a:ext>
            </a:extLst>
          </p:cNvPr>
          <p:cNvSpPr/>
          <p:nvPr/>
        </p:nvSpPr>
        <p:spPr>
          <a:xfrm rot="5400000" flipH="1">
            <a:off x="7170503" y="-60965"/>
            <a:ext cx="1334452" cy="3613079"/>
          </a:xfrm>
          <a:prstGeom prst="bentUpArrow">
            <a:avLst>
              <a:gd name="adj1" fmla="val 17808"/>
              <a:gd name="adj2" fmla="val 16263"/>
              <a:gd name="adj3" fmla="val 19175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3.3 V 1.5 A</a:t>
            </a:r>
          </a:p>
        </p:txBody>
      </p:sp>
      <p:sp>
        <p:nvSpPr>
          <p:cNvPr id="56" name="Flèche : angle droit 55">
            <a:extLst>
              <a:ext uri="{FF2B5EF4-FFF2-40B4-BE49-F238E27FC236}">
                <a16:creationId xmlns:a16="http://schemas.microsoft.com/office/drawing/2014/main" id="{D4EB09C5-A142-4C39-8246-BAB04574C147}"/>
              </a:ext>
            </a:extLst>
          </p:cNvPr>
          <p:cNvSpPr/>
          <p:nvPr/>
        </p:nvSpPr>
        <p:spPr>
          <a:xfrm rot="10800000">
            <a:off x="3789798" y="2305018"/>
            <a:ext cx="1429971" cy="552481"/>
          </a:xfrm>
          <a:prstGeom prst="bentUpArrow">
            <a:avLst>
              <a:gd name="adj1" fmla="val 35595"/>
              <a:gd name="adj2" fmla="val 26773"/>
              <a:gd name="adj3" fmla="val 32111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ECA5731-BDA7-41C8-A8CF-8F16739A6C07}"/>
              </a:ext>
            </a:extLst>
          </p:cNvPr>
          <p:cNvSpPr/>
          <p:nvPr/>
        </p:nvSpPr>
        <p:spPr>
          <a:xfrm>
            <a:off x="3954864" y="2255107"/>
            <a:ext cx="106792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3.3 V 1.5 A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43E1FB7-E85E-4472-943A-35E83E122C4B}"/>
              </a:ext>
            </a:extLst>
          </p:cNvPr>
          <p:cNvSpPr/>
          <p:nvPr/>
        </p:nvSpPr>
        <p:spPr>
          <a:xfrm>
            <a:off x="3100635" y="2859405"/>
            <a:ext cx="1507369" cy="891708"/>
          </a:xfrm>
          <a:prstGeom prst="rect">
            <a:avLst/>
          </a:prstGeom>
          <a:solidFill>
            <a:srgbClr val="006EAA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LCD</a:t>
            </a:r>
          </a:p>
          <a:p>
            <a:pPr algn="ctr"/>
            <a:r>
              <a:rPr lang="fr-FR" sz="1400" b="1" dirty="0">
                <a:solidFill>
                  <a:schemeClr val="bg1"/>
                </a:solidFill>
              </a:rPr>
              <a:t>Driver</a:t>
            </a:r>
          </a:p>
        </p:txBody>
      </p:sp>
      <p:sp>
        <p:nvSpPr>
          <p:cNvPr id="57" name="Flèche : droite 56">
            <a:extLst>
              <a:ext uri="{FF2B5EF4-FFF2-40B4-BE49-F238E27FC236}">
                <a16:creationId xmlns:a16="http://schemas.microsoft.com/office/drawing/2014/main" id="{8804D92C-3741-477D-9E79-B6BB639D780C}"/>
              </a:ext>
            </a:extLst>
          </p:cNvPr>
          <p:cNvSpPr/>
          <p:nvPr/>
        </p:nvSpPr>
        <p:spPr>
          <a:xfrm rot="5400000">
            <a:off x="4946095" y="4110615"/>
            <a:ext cx="1212439" cy="415187"/>
          </a:xfrm>
          <a:prstGeom prst="right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3.3 V 1.5 A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DA046C-9E65-4FFE-8C1B-B15F12DBC2A2}"/>
              </a:ext>
            </a:extLst>
          </p:cNvPr>
          <p:cNvSpPr/>
          <p:nvPr/>
        </p:nvSpPr>
        <p:spPr>
          <a:xfrm>
            <a:off x="3854320" y="4924428"/>
            <a:ext cx="2123260" cy="1363719"/>
          </a:xfrm>
          <a:prstGeom prst="rect">
            <a:avLst/>
          </a:prstGeom>
          <a:solidFill>
            <a:schemeClr val="bg1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CU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02ACFD5-4AA4-4E30-9843-75BB197A562B}"/>
              </a:ext>
            </a:extLst>
          </p:cNvPr>
          <p:cNvSpPr/>
          <p:nvPr/>
        </p:nvSpPr>
        <p:spPr>
          <a:xfrm>
            <a:off x="5098461" y="2305019"/>
            <a:ext cx="1360882" cy="1493915"/>
          </a:xfrm>
          <a:prstGeom prst="rect">
            <a:avLst/>
          </a:prstGeom>
          <a:solidFill>
            <a:schemeClr val="accent1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err="1">
                <a:solidFill>
                  <a:schemeClr val="bg1"/>
                </a:solidFill>
              </a:rPr>
              <a:t>Supply</a:t>
            </a:r>
            <a:endParaRPr lang="fr-FR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7321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6877B1A1-1A1A-4C0E-A88F-8C76E5ADCA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4204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Diapositive think-cell" r:id="rId4" imgW="281" imgH="281" progId="TCLayout.ActiveDocument.1">
                  <p:embed/>
                </p:oleObj>
              </mc:Choice>
              <mc:Fallback>
                <p:oleObj name="Diapositive think-cell" r:id="rId4" imgW="281" imgH="28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6877B1A1-1A1A-4C0E-A88F-8C76E5ADCA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9" name="Connecteur droit 58">
            <a:extLst>
              <a:ext uri="{FF2B5EF4-FFF2-40B4-BE49-F238E27FC236}">
                <a16:creationId xmlns:a16="http://schemas.microsoft.com/office/drawing/2014/main" id="{BC358090-3C8E-40CA-90B4-33766AB45E52}"/>
              </a:ext>
            </a:extLst>
          </p:cNvPr>
          <p:cNvCxnSpPr>
            <a:cxnSpLocks/>
          </p:cNvCxnSpPr>
          <p:nvPr/>
        </p:nvCxnSpPr>
        <p:spPr>
          <a:xfrm>
            <a:off x="5355461" y="4317022"/>
            <a:ext cx="3255050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eur droit 59">
            <a:extLst>
              <a:ext uri="{FF2B5EF4-FFF2-40B4-BE49-F238E27FC236}">
                <a16:creationId xmlns:a16="http://schemas.microsoft.com/office/drawing/2014/main" id="{C834FBED-B129-4D06-A045-7C5A6CED75CB}"/>
              </a:ext>
            </a:extLst>
          </p:cNvPr>
          <p:cNvCxnSpPr>
            <a:cxnSpLocks/>
          </p:cNvCxnSpPr>
          <p:nvPr/>
        </p:nvCxnSpPr>
        <p:spPr>
          <a:xfrm>
            <a:off x="5275188" y="4449769"/>
            <a:ext cx="3186646" cy="12527"/>
          </a:xfrm>
          <a:prstGeom prst="line">
            <a:avLst/>
          </a:prstGeom>
          <a:ln w="381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eur droit 60">
            <a:extLst>
              <a:ext uri="{FF2B5EF4-FFF2-40B4-BE49-F238E27FC236}">
                <a16:creationId xmlns:a16="http://schemas.microsoft.com/office/drawing/2014/main" id="{109FAADB-2847-4F0C-B2BC-4191E91DF3CD}"/>
              </a:ext>
            </a:extLst>
          </p:cNvPr>
          <p:cNvCxnSpPr>
            <a:cxnSpLocks/>
          </p:cNvCxnSpPr>
          <p:nvPr/>
        </p:nvCxnSpPr>
        <p:spPr>
          <a:xfrm flipH="1" flipV="1">
            <a:off x="8588963" y="4298865"/>
            <a:ext cx="0" cy="531652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 droit 61">
            <a:extLst>
              <a:ext uri="{FF2B5EF4-FFF2-40B4-BE49-F238E27FC236}">
                <a16:creationId xmlns:a16="http://schemas.microsoft.com/office/drawing/2014/main" id="{C5BCC5BD-34C5-48E8-88A7-6C82B4393506}"/>
              </a:ext>
            </a:extLst>
          </p:cNvPr>
          <p:cNvCxnSpPr>
            <a:cxnSpLocks/>
          </p:cNvCxnSpPr>
          <p:nvPr/>
        </p:nvCxnSpPr>
        <p:spPr>
          <a:xfrm flipH="1" flipV="1">
            <a:off x="8446350" y="4451246"/>
            <a:ext cx="0" cy="531652"/>
          </a:xfrm>
          <a:prstGeom prst="line">
            <a:avLst/>
          </a:prstGeom>
          <a:ln w="381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eur droit 41">
            <a:extLst>
              <a:ext uri="{FF2B5EF4-FFF2-40B4-BE49-F238E27FC236}">
                <a16:creationId xmlns:a16="http://schemas.microsoft.com/office/drawing/2014/main" id="{7EE3E603-1C4F-4115-B51C-9331508A3212}"/>
              </a:ext>
            </a:extLst>
          </p:cNvPr>
          <p:cNvCxnSpPr>
            <a:cxnSpLocks/>
          </p:cNvCxnSpPr>
          <p:nvPr/>
        </p:nvCxnSpPr>
        <p:spPr>
          <a:xfrm>
            <a:off x="4427463" y="1727484"/>
            <a:ext cx="5539443" cy="0"/>
          </a:xfrm>
          <a:prstGeom prst="line">
            <a:avLst/>
          </a:prstGeom>
          <a:ln w="38100">
            <a:solidFill>
              <a:srgbClr val="00A5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4F5E1B8B-0226-43FC-9195-BF4F80146643}"/>
              </a:ext>
            </a:extLst>
          </p:cNvPr>
          <p:cNvCxnSpPr>
            <a:cxnSpLocks/>
          </p:cNvCxnSpPr>
          <p:nvPr/>
        </p:nvCxnSpPr>
        <p:spPr>
          <a:xfrm>
            <a:off x="4170288" y="1872758"/>
            <a:ext cx="5628891" cy="0"/>
          </a:xfrm>
          <a:prstGeom prst="line">
            <a:avLst/>
          </a:prstGeom>
          <a:ln w="381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2CC3F919-0BEA-40E8-86DC-E0EF8D096A71}"/>
              </a:ext>
            </a:extLst>
          </p:cNvPr>
          <p:cNvCxnSpPr>
            <a:cxnSpLocks/>
          </p:cNvCxnSpPr>
          <p:nvPr/>
        </p:nvCxnSpPr>
        <p:spPr>
          <a:xfrm flipH="1">
            <a:off x="1274688" y="1919246"/>
            <a:ext cx="3009552" cy="5"/>
          </a:xfrm>
          <a:prstGeom prst="line">
            <a:avLst/>
          </a:prstGeom>
          <a:ln w="38100">
            <a:solidFill>
              <a:srgbClr val="DC23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DC47EFA0-B5F2-422A-BFE7-61205F2583A9}"/>
              </a:ext>
            </a:extLst>
          </p:cNvPr>
          <p:cNvCxnSpPr>
            <a:cxnSpLocks/>
          </p:cNvCxnSpPr>
          <p:nvPr/>
        </p:nvCxnSpPr>
        <p:spPr>
          <a:xfrm flipH="1">
            <a:off x="1274688" y="2053469"/>
            <a:ext cx="3009552" cy="0"/>
          </a:xfrm>
          <a:prstGeom prst="line">
            <a:avLst/>
          </a:prstGeom>
          <a:ln w="381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 : en angle 20">
            <a:extLst>
              <a:ext uri="{FF2B5EF4-FFF2-40B4-BE49-F238E27FC236}">
                <a16:creationId xmlns:a16="http://schemas.microsoft.com/office/drawing/2014/main" id="{C458AC85-D697-4113-98B5-4037F08C6095}"/>
              </a:ext>
            </a:extLst>
          </p:cNvPr>
          <p:cNvCxnSpPr>
            <a:cxnSpLocks/>
          </p:cNvCxnSpPr>
          <p:nvPr/>
        </p:nvCxnSpPr>
        <p:spPr>
          <a:xfrm rot="10800000">
            <a:off x="2967171" y="1919251"/>
            <a:ext cx="2431404" cy="2397771"/>
          </a:xfrm>
          <a:prstGeom prst="bentConnector3">
            <a:avLst>
              <a:gd name="adj1" fmla="val 72427"/>
            </a:avLst>
          </a:prstGeom>
          <a:ln w="38100">
            <a:solidFill>
              <a:srgbClr val="DC23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 : en angle 22">
            <a:extLst>
              <a:ext uri="{FF2B5EF4-FFF2-40B4-BE49-F238E27FC236}">
                <a16:creationId xmlns:a16="http://schemas.microsoft.com/office/drawing/2014/main" id="{F2519A59-6F5E-4B70-9523-85F818AE29BC}"/>
              </a:ext>
            </a:extLst>
          </p:cNvPr>
          <p:cNvCxnSpPr>
            <a:cxnSpLocks/>
          </p:cNvCxnSpPr>
          <p:nvPr/>
        </p:nvCxnSpPr>
        <p:spPr>
          <a:xfrm rot="10800000">
            <a:off x="2874891" y="2055839"/>
            <a:ext cx="2520187" cy="2440070"/>
          </a:xfrm>
          <a:prstGeom prst="bentConnector3">
            <a:avLst>
              <a:gd name="adj1" fmla="val 76297"/>
            </a:avLst>
          </a:prstGeom>
          <a:ln w="381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978A3C7-7FF8-42AD-A086-2B6EEF0BE6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BE58BC-8CE9-4E6A-BC33-C4297FEBE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Supply</a:t>
            </a:r>
            <a:endParaRPr lang="fr-F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A209772-981A-4BA1-8A41-F581F440AEEB}"/>
              </a:ext>
            </a:extLst>
          </p:cNvPr>
          <p:cNvSpPr/>
          <p:nvPr/>
        </p:nvSpPr>
        <p:spPr>
          <a:xfrm>
            <a:off x="4078008" y="1642410"/>
            <a:ext cx="1426130" cy="914400"/>
          </a:xfrm>
          <a:prstGeom prst="rect">
            <a:avLst/>
          </a:prstGeom>
          <a:solidFill>
            <a:schemeClr val="bg1"/>
          </a:solidFill>
          <a:ln w="76200">
            <a:solidFill>
              <a:srgbClr val="00A5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>
                <a:solidFill>
                  <a:schemeClr val="tx1"/>
                </a:solidFill>
              </a:rPr>
              <a:t>Regulator</a:t>
            </a:r>
            <a:endParaRPr lang="fr-FR" sz="1400" dirty="0">
              <a:solidFill>
                <a:schemeClr val="tx1"/>
              </a:solidFill>
            </a:endParaRPr>
          </a:p>
          <a:p>
            <a:pPr algn="ctr"/>
            <a:r>
              <a:rPr lang="fr-FR" sz="1400" dirty="0">
                <a:solidFill>
                  <a:schemeClr val="tx1"/>
                </a:solidFill>
              </a:rPr>
              <a:t>+ 3.3 V</a:t>
            </a:r>
          </a:p>
          <a:p>
            <a:pPr algn="ctr"/>
            <a:r>
              <a:rPr lang="fr-FR" sz="1400" dirty="0">
                <a:solidFill>
                  <a:schemeClr val="tx1"/>
                </a:solidFill>
              </a:rPr>
              <a:t>1.5 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AFBF1BD-D642-4CB6-A356-D458BC87D034}"/>
              </a:ext>
            </a:extLst>
          </p:cNvPr>
          <p:cNvSpPr/>
          <p:nvPr/>
        </p:nvSpPr>
        <p:spPr>
          <a:xfrm>
            <a:off x="4078008" y="3992569"/>
            <a:ext cx="1426130" cy="91440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 err="1">
                <a:solidFill>
                  <a:schemeClr val="tx1"/>
                </a:solidFill>
              </a:rPr>
              <a:t>Regulator</a:t>
            </a:r>
            <a:endParaRPr lang="fr-FR" sz="1400" dirty="0">
              <a:solidFill>
                <a:schemeClr val="tx1"/>
              </a:solidFill>
            </a:endParaRPr>
          </a:p>
          <a:p>
            <a:pPr algn="ctr"/>
            <a:r>
              <a:rPr lang="fr-FR" sz="1400" dirty="0">
                <a:solidFill>
                  <a:schemeClr val="tx1"/>
                </a:solidFill>
              </a:rPr>
              <a:t>+ 3.3 V</a:t>
            </a:r>
          </a:p>
          <a:p>
            <a:pPr algn="ctr"/>
            <a:r>
              <a:rPr lang="fr-FR" sz="1400" dirty="0">
                <a:solidFill>
                  <a:schemeClr val="tx1"/>
                </a:solidFill>
              </a:rPr>
              <a:t>1.5 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C665125-B724-452D-8876-3DCF98254D85}"/>
              </a:ext>
            </a:extLst>
          </p:cNvPr>
          <p:cNvSpPr/>
          <p:nvPr/>
        </p:nvSpPr>
        <p:spPr>
          <a:xfrm>
            <a:off x="223319" y="1828152"/>
            <a:ext cx="914400" cy="3187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+12 VDC</a:t>
            </a:r>
          </a:p>
        </p:txBody>
      </p:sp>
      <p:cxnSp>
        <p:nvCxnSpPr>
          <p:cNvPr id="44" name="Connecteur droit 43">
            <a:extLst>
              <a:ext uri="{FF2B5EF4-FFF2-40B4-BE49-F238E27FC236}">
                <a16:creationId xmlns:a16="http://schemas.microsoft.com/office/drawing/2014/main" id="{B7FD2E53-4691-4013-993B-3BBA015751DA}"/>
              </a:ext>
            </a:extLst>
          </p:cNvPr>
          <p:cNvCxnSpPr>
            <a:cxnSpLocks/>
          </p:cNvCxnSpPr>
          <p:nvPr/>
        </p:nvCxnSpPr>
        <p:spPr>
          <a:xfrm flipH="1" flipV="1">
            <a:off x="9945358" y="1709327"/>
            <a:ext cx="0" cy="531652"/>
          </a:xfrm>
          <a:prstGeom prst="line">
            <a:avLst/>
          </a:prstGeom>
          <a:ln w="38100">
            <a:solidFill>
              <a:srgbClr val="00A5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0C36DCE1-F557-44BB-84EB-06A2298FF0B0}"/>
              </a:ext>
            </a:extLst>
          </p:cNvPr>
          <p:cNvCxnSpPr>
            <a:cxnSpLocks/>
          </p:cNvCxnSpPr>
          <p:nvPr/>
        </p:nvCxnSpPr>
        <p:spPr>
          <a:xfrm flipH="1" flipV="1">
            <a:off x="9802745" y="1861708"/>
            <a:ext cx="0" cy="531652"/>
          </a:xfrm>
          <a:prstGeom prst="line">
            <a:avLst/>
          </a:prstGeom>
          <a:ln w="381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46">
            <a:extLst>
              <a:ext uri="{FF2B5EF4-FFF2-40B4-BE49-F238E27FC236}">
                <a16:creationId xmlns:a16="http://schemas.microsoft.com/office/drawing/2014/main" id="{9B7C1C65-2605-4563-9F58-700B9C7AE1BA}"/>
              </a:ext>
            </a:extLst>
          </p:cNvPr>
          <p:cNvCxnSpPr>
            <a:cxnSpLocks/>
          </p:cNvCxnSpPr>
          <p:nvPr/>
        </p:nvCxnSpPr>
        <p:spPr>
          <a:xfrm flipH="1" flipV="1">
            <a:off x="7983732" y="1721717"/>
            <a:ext cx="0" cy="531652"/>
          </a:xfrm>
          <a:prstGeom prst="line">
            <a:avLst/>
          </a:prstGeom>
          <a:ln w="38100">
            <a:solidFill>
              <a:srgbClr val="00A5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droit 47">
            <a:extLst>
              <a:ext uri="{FF2B5EF4-FFF2-40B4-BE49-F238E27FC236}">
                <a16:creationId xmlns:a16="http://schemas.microsoft.com/office/drawing/2014/main" id="{7C8B6A5B-4712-4079-B012-760B43129A0C}"/>
              </a:ext>
            </a:extLst>
          </p:cNvPr>
          <p:cNvCxnSpPr>
            <a:cxnSpLocks/>
          </p:cNvCxnSpPr>
          <p:nvPr/>
        </p:nvCxnSpPr>
        <p:spPr>
          <a:xfrm flipH="1" flipV="1">
            <a:off x="7841119" y="1874098"/>
            <a:ext cx="0" cy="531652"/>
          </a:xfrm>
          <a:prstGeom prst="line">
            <a:avLst/>
          </a:prstGeom>
          <a:ln w="381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eur droit 48">
            <a:extLst>
              <a:ext uri="{FF2B5EF4-FFF2-40B4-BE49-F238E27FC236}">
                <a16:creationId xmlns:a16="http://schemas.microsoft.com/office/drawing/2014/main" id="{08C7D04A-8ACD-4330-B74A-BC5086088735}"/>
              </a:ext>
            </a:extLst>
          </p:cNvPr>
          <p:cNvCxnSpPr>
            <a:cxnSpLocks/>
          </p:cNvCxnSpPr>
          <p:nvPr/>
        </p:nvCxnSpPr>
        <p:spPr>
          <a:xfrm flipH="1" flipV="1">
            <a:off x="6616334" y="1709327"/>
            <a:ext cx="0" cy="531652"/>
          </a:xfrm>
          <a:prstGeom prst="line">
            <a:avLst/>
          </a:prstGeom>
          <a:ln w="38100">
            <a:solidFill>
              <a:srgbClr val="00A5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976ECE2D-612E-4F11-984C-09634ADC6B1E}"/>
              </a:ext>
            </a:extLst>
          </p:cNvPr>
          <p:cNvCxnSpPr>
            <a:cxnSpLocks/>
          </p:cNvCxnSpPr>
          <p:nvPr/>
        </p:nvCxnSpPr>
        <p:spPr>
          <a:xfrm flipH="1" flipV="1">
            <a:off x="6473721" y="1861708"/>
            <a:ext cx="0" cy="531652"/>
          </a:xfrm>
          <a:prstGeom prst="line">
            <a:avLst/>
          </a:prstGeom>
          <a:ln w="381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93F8E2E4-7A01-4D8E-A3F7-5FA287A5F1BE}"/>
              </a:ext>
            </a:extLst>
          </p:cNvPr>
          <p:cNvSpPr/>
          <p:nvPr/>
        </p:nvSpPr>
        <p:spPr>
          <a:xfrm rot="16200000">
            <a:off x="7906822" y="4821476"/>
            <a:ext cx="1368000" cy="1008000"/>
          </a:xfrm>
          <a:prstGeom prst="rect">
            <a:avLst/>
          </a:prstGeom>
          <a:solidFill>
            <a:schemeClr val="bg2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ODULE HV3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460CAA9-CF24-41F0-A94C-EB9893201F1C}"/>
              </a:ext>
            </a:extLst>
          </p:cNvPr>
          <p:cNvSpPr/>
          <p:nvPr/>
        </p:nvSpPr>
        <p:spPr>
          <a:xfrm rot="16200000">
            <a:off x="7230560" y="2302057"/>
            <a:ext cx="1368000" cy="1008000"/>
          </a:xfrm>
          <a:prstGeom prst="rect">
            <a:avLst/>
          </a:prstGeom>
          <a:solidFill>
            <a:schemeClr val="bg2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ODULE HV3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98B538A-5A12-4468-B565-C09F06C8745D}"/>
              </a:ext>
            </a:extLst>
          </p:cNvPr>
          <p:cNvSpPr/>
          <p:nvPr/>
        </p:nvSpPr>
        <p:spPr>
          <a:xfrm>
            <a:off x="8782987" y="2122057"/>
            <a:ext cx="1686188" cy="832978"/>
          </a:xfrm>
          <a:prstGeom prst="rect">
            <a:avLst/>
          </a:prstGeom>
          <a:solidFill>
            <a:schemeClr val="bg1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</a:rPr>
              <a:t>MCU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71A1535B-FC79-40DD-A5C0-B855F22ED403}"/>
              </a:ext>
            </a:extLst>
          </p:cNvPr>
          <p:cNvCxnSpPr>
            <a:cxnSpLocks/>
          </p:cNvCxnSpPr>
          <p:nvPr/>
        </p:nvCxnSpPr>
        <p:spPr>
          <a:xfrm flipH="1" flipV="1">
            <a:off x="7226888" y="4317022"/>
            <a:ext cx="0" cy="531652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eur droit 39">
            <a:extLst>
              <a:ext uri="{FF2B5EF4-FFF2-40B4-BE49-F238E27FC236}">
                <a16:creationId xmlns:a16="http://schemas.microsoft.com/office/drawing/2014/main" id="{96EB5D82-3C2A-4496-98E3-02F68148C706}"/>
              </a:ext>
            </a:extLst>
          </p:cNvPr>
          <p:cNvCxnSpPr>
            <a:cxnSpLocks/>
          </p:cNvCxnSpPr>
          <p:nvPr/>
        </p:nvCxnSpPr>
        <p:spPr>
          <a:xfrm flipH="1" flipV="1">
            <a:off x="7084275" y="4469403"/>
            <a:ext cx="0" cy="531652"/>
          </a:xfrm>
          <a:prstGeom prst="line">
            <a:avLst/>
          </a:prstGeom>
          <a:ln w="381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7197028B-E136-402B-9263-8AC88C9B5A1A}"/>
              </a:ext>
            </a:extLst>
          </p:cNvPr>
          <p:cNvSpPr/>
          <p:nvPr/>
        </p:nvSpPr>
        <p:spPr>
          <a:xfrm>
            <a:off x="5899518" y="2122057"/>
            <a:ext cx="1137990" cy="1008000"/>
          </a:xfrm>
          <a:prstGeom prst="rect">
            <a:avLst/>
          </a:prstGeom>
          <a:solidFill>
            <a:srgbClr val="006EAA"/>
          </a:solidFill>
          <a:ln w="571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LCD</a:t>
            </a:r>
          </a:p>
          <a:p>
            <a:pPr algn="ctr"/>
            <a:r>
              <a:rPr lang="fr-FR" sz="1400" b="1" dirty="0">
                <a:solidFill>
                  <a:schemeClr val="bg1"/>
                </a:solidFill>
              </a:rPr>
              <a:t>DRIVER</a:t>
            </a:r>
          </a:p>
        </p:txBody>
      </p: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5BF7B9F8-6009-419B-BF89-3AF299D13B95}"/>
              </a:ext>
            </a:extLst>
          </p:cNvPr>
          <p:cNvGrpSpPr/>
          <p:nvPr/>
        </p:nvGrpSpPr>
        <p:grpSpPr>
          <a:xfrm>
            <a:off x="6047566" y="4641475"/>
            <a:ext cx="1789053" cy="1059776"/>
            <a:chOff x="551475" y="4650220"/>
            <a:chExt cx="1789053" cy="1059776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901504E-30AC-4880-B5B4-ADB2558C4305}"/>
                </a:ext>
              </a:extLst>
            </p:cNvPr>
            <p:cNvSpPr/>
            <p:nvPr/>
          </p:nvSpPr>
          <p:spPr>
            <a:xfrm>
              <a:off x="551475" y="4650220"/>
              <a:ext cx="1789053" cy="1059776"/>
            </a:xfrm>
            <a:prstGeom prst="rect">
              <a:avLst/>
            </a:prstGeom>
            <a:solidFill>
              <a:srgbClr val="006EAA"/>
            </a:solidFill>
            <a:ln>
              <a:solidFill>
                <a:srgbClr val="0050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FFAFB95-6FC4-4AFA-9CF4-26FD09BEE662}"/>
                </a:ext>
              </a:extLst>
            </p:cNvPr>
            <p:cNvSpPr/>
            <p:nvPr/>
          </p:nvSpPr>
          <p:spPr>
            <a:xfrm>
              <a:off x="618313" y="4716456"/>
              <a:ext cx="1651434" cy="927304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571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b="1" dirty="0">
                  <a:solidFill>
                    <a:schemeClr val="bg1"/>
                  </a:solidFill>
                </a:rPr>
                <a:t>LCD screen </a:t>
              </a:r>
              <a:r>
                <a:rPr lang="fr-FR" b="1" dirty="0" err="1">
                  <a:solidFill>
                    <a:schemeClr val="bg1"/>
                  </a:solidFill>
                </a:rPr>
                <a:t>touch</a:t>
              </a:r>
              <a:endParaRPr lang="fr-FR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DA0189D1-B1C5-438D-A041-2A6032DF36F4}"/>
              </a:ext>
            </a:extLst>
          </p:cNvPr>
          <p:cNvGrpSpPr/>
          <p:nvPr/>
        </p:nvGrpSpPr>
        <p:grpSpPr>
          <a:xfrm>
            <a:off x="1588249" y="1583798"/>
            <a:ext cx="1686188" cy="832978"/>
            <a:chOff x="8673168" y="4454894"/>
            <a:chExt cx="1686188" cy="832978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73F4541F-88BE-4C4F-B0A6-C62530F1DA55}"/>
                </a:ext>
              </a:extLst>
            </p:cNvPr>
            <p:cNvSpPr/>
            <p:nvPr/>
          </p:nvSpPr>
          <p:spPr>
            <a:xfrm>
              <a:off x="8673168" y="4454894"/>
              <a:ext cx="1686188" cy="832978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schemeClr val="tx1"/>
                  </a:solidFill>
                </a:rPr>
                <a:t>Security</a:t>
              </a:r>
            </a:p>
            <a:p>
              <a:pPr algn="ctr"/>
              <a:endParaRPr lang="fr-FR" sz="1400" b="1" dirty="0">
                <a:solidFill>
                  <a:schemeClr val="tx1"/>
                </a:solidFill>
              </a:endParaRPr>
            </a:p>
          </p:txBody>
        </p:sp>
        <p:pic>
          <p:nvPicPr>
            <p:cNvPr id="14" name="Image 13">
              <a:extLst>
                <a:ext uri="{FF2B5EF4-FFF2-40B4-BE49-F238E27FC236}">
                  <a16:creationId xmlns:a16="http://schemas.microsoft.com/office/drawing/2014/main" id="{67167677-B76A-4961-949A-D9BC2AC0B16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1658" y="4862022"/>
              <a:ext cx="676885" cy="380748"/>
            </a:xfrm>
            <a:prstGeom prst="rect">
              <a:avLst/>
            </a:prstGeom>
          </p:spPr>
        </p:pic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372824DC-85BB-497B-81AF-94B86B418E3E}"/>
              </a:ext>
            </a:extLst>
          </p:cNvPr>
          <p:cNvSpPr/>
          <p:nvPr/>
        </p:nvSpPr>
        <p:spPr>
          <a:xfrm>
            <a:off x="1458987" y="1488046"/>
            <a:ext cx="4220509" cy="3708000"/>
          </a:xfrm>
          <a:prstGeom prst="rect">
            <a:avLst/>
          </a:prstGeom>
          <a:noFill/>
          <a:ln w="57150">
            <a:prstDash val="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65440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803FF967-1CE8-4BC4-941B-38BD8A762C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4221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Diapositive think-cell" r:id="rId5" imgW="281" imgH="281" progId="TCLayout.ActiveDocument.1">
                  <p:embed/>
                </p:oleObj>
              </mc:Choice>
              <mc:Fallback>
                <p:oleObj name="Diapositive think-cell" r:id="rId5" imgW="281" imgH="2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C327B74-10A7-46D1-96FB-20647C001C7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800" b="1" dirty="0" err="1">
              <a:solidFill>
                <a:schemeClr val="tx1"/>
              </a:solidFill>
              <a:latin typeface="Vitesco" panose="020B0504020202020204" pitchFamily="34" charset="0"/>
              <a:ea typeface="+mj-ea"/>
              <a:cs typeface="+mj-cs"/>
              <a:sym typeface="Vitesco" panose="020B0504020202020204" pitchFamily="34" charset="0"/>
            </a:endParaRPr>
          </a:p>
        </p:txBody>
      </p:sp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17211146-3E13-4C71-853F-657A6DDC9F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Next </a:t>
            </a:r>
            <a:r>
              <a:rPr lang="fr-FR" dirty="0" err="1"/>
              <a:t>steps</a:t>
            </a:r>
            <a:r>
              <a:rPr lang="fr-FR" dirty="0"/>
              <a:t>:</a:t>
            </a:r>
          </a:p>
          <a:p>
            <a:pPr lvl="1"/>
            <a:r>
              <a:rPr lang="fr-FR" dirty="0"/>
              <a:t>Réalisation d’un PCB avec des « modules » pour validation</a:t>
            </a:r>
          </a:p>
          <a:p>
            <a:pPr lvl="1"/>
            <a:r>
              <a:rPr lang="fr-FR" dirty="0"/>
              <a:t>Définir le </a:t>
            </a:r>
            <a:r>
              <a:rPr lang="fr-FR" dirty="0" err="1"/>
              <a:t>pinout</a:t>
            </a:r>
            <a:r>
              <a:rPr lang="fr-FR" dirty="0"/>
              <a:t> avec l’équipe SW (MCU + HV3)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23EE853-643B-410F-AA02-D469BB3F69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02BF955-7B61-4F05-B8CB-E835B04771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HW TEAM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51658527-C423-477B-8F33-286A519B14D0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94987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5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xMqoPe2RJCJT4X6TRy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ZwgdcwWou7dqsqfhY7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1Q52MbwvCvOVM47IZ2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itesco">
  <a:themeElements>
    <a:clrScheme name="_Vitesco neu">
      <a:dk1>
        <a:srgbClr val="4A4944"/>
      </a:dk1>
      <a:lt1>
        <a:sysClr val="window" lastClr="FFFFFF"/>
      </a:lt1>
      <a:dk2>
        <a:srgbClr val="4A4944"/>
      </a:dk2>
      <a:lt2>
        <a:srgbClr val="F2E500"/>
      </a:lt2>
      <a:accent1>
        <a:srgbClr val="D4004A"/>
      </a:accent1>
      <a:accent2>
        <a:srgbClr val="B4C832"/>
      </a:accent2>
      <a:accent3>
        <a:srgbClr val="64AF5A"/>
      </a:accent3>
      <a:accent4>
        <a:srgbClr val="3CB4A5"/>
      </a:accent4>
      <a:accent5>
        <a:srgbClr val="008269"/>
      </a:accent5>
      <a:accent6>
        <a:srgbClr val="005546"/>
      </a:accent6>
      <a:hlink>
        <a:srgbClr val="4A4944"/>
      </a:hlink>
      <a:folHlink>
        <a:srgbClr val="4A4944"/>
      </a:folHlink>
    </a:clrScheme>
    <a:fontScheme name="Benutzerdefiniert 153">
      <a:majorFont>
        <a:latin typeface="Vitesco"/>
        <a:ea typeface=""/>
        <a:cs typeface=""/>
      </a:majorFont>
      <a:minorFont>
        <a:latin typeface="Vitesc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400" dirty="0" err="1" smtClean="0"/>
        </a:defPPr>
      </a:lstStyle>
    </a:txDef>
  </a:objectDefaults>
  <a:extraClrSchemeLst/>
  <a:custClrLst>
    <a:custClr name="Tertiär1">
      <a:srgbClr val="00A5E6"/>
    </a:custClr>
    <a:custClr name="Tertiär2">
      <a:srgbClr val="006EAA"/>
    </a:custClr>
    <a:custClr name="Tertiär3">
      <a:srgbClr val="005082"/>
    </a:custClr>
    <a:custClr name="Tertiär4">
      <a:srgbClr val="DC5F96"/>
    </a:custClr>
    <a:custClr name="Tertiär5">
      <a:srgbClr val="7D0F5F"/>
    </a:custClr>
    <a:custClr name="Brand Grey 100%">
      <a:srgbClr val="4A4944"/>
    </a:custClr>
    <a:custClr name="Brand Grey 70%">
      <a:srgbClr val="807F7C"/>
    </a:custClr>
    <a:custClr name="Brand Grey 50%">
      <a:srgbClr val="A4A4A1"/>
    </a:custClr>
    <a:custClr name="Brand Grey 30%">
      <a:srgbClr val="C8C8C6"/>
    </a:custClr>
    <a:custClr name="Brand Grey 15%">
      <a:srgbClr val="E4E4E3"/>
    </a:custClr>
    <a:custClr name="Ampelfarbe1">
      <a:srgbClr val="DC230F"/>
    </a:custClr>
    <a:custClr name="Ampelfarbe2">
      <a:srgbClr val="FFC300"/>
    </a:custClr>
    <a:custClr name="Ampelfarbe3">
      <a:srgbClr val="64AF59"/>
    </a:custClr>
  </a:custClrLst>
  <a:extLst>
    <a:ext uri="{05A4C25C-085E-4340-85A3-A5531E510DB2}">
      <thm15:themeFamily xmlns:thm15="http://schemas.microsoft.com/office/thememl/2012/main" name="Vitesco" id="{8CFDD018-1F62-45B6-9047-F61AA96CE09E}" vid="{CCAAE21C-71A6-42EA-8C4A-0FB1DB4EEB3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2BE18627A709541810338E01DF18ED8" ma:contentTypeVersion="13" ma:contentTypeDescription="Create a new document." ma:contentTypeScope="" ma:versionID="6f87765f028ae768125b6a93918cda0e">
  <xsd:schema xmlns:xsd="http://www.w3.org/2001/XMLSchema" xmlns:xs="http://www.w3.org/2001/XMLSchema" xmlns:p="http://schemas.microsoft.com/office/2006/metadata/properties" xmlns:ns3="30990c54-d953-498a-88eb-47508cbabf51" xmlns:ns4="5459c1e5-ea4c-4ff0-83ae-5b1438974e3b" targetNamespace="http://schemas.microsoft.com/office/2006/metadata/properties" ma:root="true" ma:fieldsID="315afa8a6763a42aaca31b82e431c531" ns3:_="" ns4:_="">
    <xsd:import namespace="30990c54-d953-498a-88eb-47508cbabf51"/>
    <xsd:import namespace="5459c1e5-ea4c-4ff0-83ae-5b1438974e3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990c54-d953-498a-88eb-47508cbabf5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59c1e5-ea4c-4ff0-83ae-5b1438974e3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A961832-ADCA-49B8-9B76-BC4EB530F1D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057C390-4223-456E-8077-BFF25693858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DBF593A-2C83-478A-B677-CCB682A734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0990c54-d953-498a-88eb-47508cbabf51"/>
    <ds:schemaRef ds:uri="5459c1e5-ea4c-4ff0-83ae-5b1438974e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207</Words>
  <Application>Microsoft Office PowerPoint</Application>
  <PresentationFormat>Grand écran</PresentationFormat>
  <Paragraphs>108</Paragraphs>
  <Slides>7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7</vt:i4>
      </vt:variant>
    </vt:vector>
  </HeadingPairs>
  <TitlesOfParts>
    <vt:vector size="11" baseType="lpstr">
      <vt:lpstr>Arial</vt:lpstr>
      <vt:lpstr>Vitesco</vt:lpstr>
      <vt:lpstr>Vitesco</vt:lpstr>
      <vt:lpstr>Diapositive think-cell</vt:lpstr>
      <vt:lpstr>Statut HW CW44</vt:lpstr>
      <vt:lpstr>PCB</vt:lpstr>
      <vt:lpstr>Communication</vt:lpstr>
      <vt:lpstr>Supply</vt:lpstr>
      <vt:lpstr>Alimentation</vt:lpstr>
      <vt:lpstr>Supply</vt:lpstr>
      <vt:lpstr>HW TEA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essaoudi, Damien (uid34375)</dc:creator>
  <cp:lastModifiedBy>Messaoudi, Damien (uid34375)</cp:lastModifiedBy>
  <cp:revision>15</cp:revision>
  <dcterms:created xsi:type="dcterms:W3CDTF">2020-11-01T10:42:20Z</dcterms:created>
  <dcterms:modified xsi:type="dcterms:W3CDTF">2020-11-04T13:39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BE18627A709541810338E01DF18ED8</vt:lpwstr>
  </property>
</Properties>
</file>